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slides/slide58.xml" ContentType="application/vnd.openxmlformats-officedocument.presentationml.slide+xml"/>
  <Override PartName="/ppt/slides/slide5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theme/themeOverride1.xml" ContentType="application/vnd.openxmlformats-officedocument.themeOverride+xml"/>
  <Override PartName="/ppt/drawings/drawing1.xml" ContentType="application/vnd.openxmlformats-officedocument.drawingml.chartshape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heme/themeOverride2.xml" ContentType="application/vnd.openxmlformats-officedocument.themeOverride+xml"/>
  <Override PartName="/ppt/notesSlides/notesSlide4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4.xml" ContentType="application/vnd.openxmlformats-officedocument.themeOverride+xml"/>
  <Override PartName="/ppt/notesSlides/notesSlide5.xml" ContentType="application/vnd.openxmlformats-officedocument.presentationml.notesSlid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theme/themeOverride5.xml" ContentType="application/vnd.openxmlformats-officedocument.themeOverride+xml"/>
  <Override PartName="/ppt/notesSlides/notesSlide6.xml" ContentType="application/vnd.openxmlformats-officedocument.presentationml.notesSlide+xml"/>
  <Override PartName="/ppt/charts/chart6.xml" ContentType="application/vnd.openxmlformats-officedocument.drawingml.chart+xml"/>
  <Override PartName="/ppt/drawings/drawing2.xml" ContentType="application/vnd.openxmlformats-officedocument.drawingml.chartshapes+xml"/>
  <Override PartName="/ppt/charts/chart7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6.xml" ContentType="application/vnd.openxmlformats-officedocument.themeOverride+xml"/>
  <Override PartName="/ppt/notesSlides/notesSlide7.xml" ContentType="application/vnd.openxmlformats-officedocument.presentationml.notesSlide+xml"/>
  <Override PartName="/ppt/charts/chart8.xml" ContentType="application/vnd.openxmlformats-officedocument.drawingml.chart+xml"/>
  <Override PartName="/ppt/charts/style7.xml" ContentType="application/vnd.ms-office.chartstyle+xml"/>
  <Override PartName="/ppt/charts/colors7.xml" ContentType="application/vnd.ms-office.chartcolorstyle+xml"/>
  <Override PartName="/ppt/theme/themeOverride7.xml" ContentType="application/vnd.openxmlformats-officedocument.themeOverride+xml"/>
  <Override PartName="/ppt/notesSlides/notesSlide8.xml" ContentType="application/vnd.openxmlformats-officedocument.presentationml.notesSlide+xml"/>
  <Override PartName="/ppt/charts/chart9.xml" ContentType="application/vnd.openxmlformats-officedocument.drawingml.chart+xml"/>
  <Override PartName="/ppt/charts/style8.xml" ContentType="application/vnd.ms-office.chartstyle+xml"/>
  <Override PartName="/ppt/charts/colors8.xml" ContentType="application/vnd.ms-office.chartcolorstyle+xml"/>
  <Override PartName="/ppt/theme/themeOverride8.xml" ContentType="application/vnd.openxmlformats-officedocument.themeOverride+xml"/>
  <Override PartName="/ppt/notesSlides/notesSlide9.xml" ContentType="application/vnd.openxmlformats-officedocument.presentationml.notesSlide+xml"/>
  <Override PartName="/ppt/charts/chart10.xml" ContentType="application/vnd.openxmlformats-officedocument.drawingml.chart+xml"/>
  <Override PartName="/ppt/charts/style9.xml" ContentType="application/vnd.ms-office.chartstyle+xml"/>
  <Override PartName="/ppt/charts/colors9.xml" ContentType="application/vnd.ms-office.chartcolorstyle+xml"/>
  <Override PartName="/ppt/drawings/drawing3.xml" ContentType="application/vnd.openxmlformats-officedocument.drawingml.chartshapes+xml"/>
  <Override PartName="/ppt/notesSlides/notesSlide10.xml" ContentType="application/vnd.openxmlformats-officedocument.presentationml.notesSlide+xml"/>
  <Override PartName="/ppt/charts/chart11.xml" ContentType="application/vnd.openxmlformats-officedocument.drawingml.chart+xml"/>
  <Override PartName="/ppt/charts/style10.xml" ContentType="application/vnd.ms-office.chartstyle+xml"/>
  <Override PartName="/ppt/charts/colors10.xml" ContentType="application/vnd.ms-office.chartcolorstyle+xml"/>
  <Override PartName="/ppt/theme/themeOverride9.xml" ContentType="application/vnd.openxmlformats-officedocument.themeOverride+xml"/>
  <Override PartName="/ppt/notesSlides/notesSlide11.xml" ContentType="application/vnd.openxmlformats-officedocument.presentationml.notesSlide+xml"/>
  <Override PartName="/ppt/charts/chart12.xml" ContentType="application/vnd.openxmlformats-officedocument.drawingml.chart+xml"/>
  <Override PartName="/ppt/charts/style11.xml" ContentType="application/vnd.ms-office.chartstyle+xml"/>
  <Override PartName="/ppt/charts/colors11.xml" ContentType="application/vnd.ms-office.chartcolorstyle+xml"/>
  <Override PartName="/ppt/theme/themeOverride10.xml" ContentType="application/vnd.openxmlformats-officedocument.themeOverride+xml"/>
  <Override PartName="/ppt/charts/chart13.xml" ContentType="application/vnd.openxmlformats-officedocument.drawingml.chart+xml"/>
  <Override PartName="/ppt/charts/style12.xml" ContentType="application/vnd.ms-office.chartstyle+xml"/>
  <Override PartName="/ppt/charts/colors12.xml" ContentType="application/vnd.ms-office.chartcolorstyle+xml"/>
  <Override PartName="/ppt/theme/themeOverride11.xml" ContentType="application/vnd.openxmlformats-officedocument.themeOverride+xml"/>
  <Override PartName="/ppt/notesSlides/notesSlide12.xml" ContentType="application/vnd.openxmlformats-officedocument.presentationml.notesSlide+xml"/>
  <Override PartName="/ppt/charts/chart14.xml" ContentType="application/vnd.openxmlformats-officedocument.drawingml.chart+xml"/>
  <Override PartName="/ppt/charts/style13.xml" ContentType="application/vnd.ms-office.chartstyle+xml"/>
  <Override PartName="/ppt/charts/colors13.xml" ContentType="application/vnd.ms-office.chartcolorstyle+xml"/>
  <Override PartName="/ppt/theme/themeOverride12.xml" ContentType="application/vnd.openxmlformats-officedocument.themeOverride+xml"/>
  <Override PartName="/ppt/notesSlides/notesSlide13.xml" ContentType="application/vnd.openxmlformats-officedocument.presentationml.notesSlide+xml"/>
  <Override PartName="/ppt/charts/chart15.xml" ContentType="application/vnd.openxmlformats-officedocument.drawingml.chart+xml"/>
  <Override PartName="/ppt/charts/style14.xml" ContentType="application/vnd.ms-office.chartstyle+xml"/>
  <Override PartName="/ppt/charts/colors14.xml" ContentType="application/vnd.ms-office.chartcolorstyle+xml"/>
  <Override PartName="/ppt/theme/themeOverride13.xml" ContentType="application/vnd.openxmlformats-officedocument.themeOverride+xml"/>
  <Override PartName="/ppt/notesSlides/notesSlide14.xml" ContentType="application/vnd.openxmlformats-officedocument.presentationml.notesSlide+xml"/>
  <Override PartName="/ppt/charts/chart16.xml" ContentType="application/vnd.openxmlformats-officedocument.drawingml.chart+xml"/>
  <Override PartName="/ppt/charts/style15.xml" ContentType="application/vnd.ms-office.chartstyle+xml"/>
  <Override PartName="/ppt/charts/colors15.xml" ContentType="application/vnd.ms-office.chartcolorstyle+xml"/>
  <Override PartName="/ppt/theme/themeOverride14.xml" ContentType="application/vnd.openxmlformats-officedocument.themeOverride+xml"/>
  <Override PartName="/ppt/notesSlides/notesSlide15.xml" ContentType="application/vnd.openxmlformats-officedocument.presentationml.notesSlide+xml"/>
  <Override PartName="/ppt/charts/chart17.xml" ContentType="application/vnd.openxmlformats-officedocument.drawingml.chart+xml"/>
  <Override PartName="/ppt/charts/style16.xml" ContentType="application/vnd.ms-office.chartstyle+xml"/>
  <Override PartName="/ppt/charts/colors16.xml" ContentType="application/vnd.ms-office.chartcolorstyle+xml"/>
  <Override PartName="/ppt/theme/themeOverride15.xml" ContentType="application/vnd.openxmlformats-officedocument.themeOverride+xml"/>
  <Override PartName="/ppt/notesSlides/notesSlide16.xml" ContentType="application/vnd.openxmlformats-officedocument.presentationml.notesSlide+xml"/>
  <Override PartName="/ppt/charts/chart18.xml" ContentType="application/vnd.openxmlformats-officedocument.drawingml.chart+xml"/>
  <Override PartName="/ppt/charts/style17.xml" ContentType="application/vnd.ms-office.chartstyle+xml"/>
  <Override PartName="/ppt/charts/colors17.xml" ContentType="application/vnd.ms-office.chartcolorstyle+xml"/>
  <Override PartName="/ppt/theme/themeOverride16.xml" ContentType="application/vnd.openxmlformats-officedocument.themeOverride+xml"/>
  <Override PartName="/ppt/notesSlides/notesSlide17.xml" ContentType="application/vnd.openxmlformats-officedocument.presentationml.notesSlide+xml"/>
  <Override PartName="/ppt/charts/chart19.xml" ContentType="application/vnd.openxmlformats-officedocument.drawingml.chart+xml"/>
  <Override PartName="/ppt/charts/style18.xml" ContentType="application/vnd.ms-office.chartstyle+xml"/>
  <Override PartName="/ppt/charts/colors18.xml" ContentType="application/vnd.ms-office.chartcolorstyle+xml"/>
  <Override PartName="/ppt/theme/themeOverride17.xml" ContentType="application/vnd.openxmlformats-officedocument.themeOverride+xml"/>
  <Override PartName="/ppt/notesSlides/notesSlide18.xml" ContentType="application/vnd.openxmlformats-officedocument.presentationml.notesSlide+xml"/>
  <Override PartName="/ppt/charts/chart20.xml" ContentType="application/vnd.openxmlformats-officedocument.drawingml.chart+xml"/>
  <Override PartName="/ppt/charts/style19.xml" ContentType="application/vnd.ms-office.chartstyle+xml"/>
  <Override PartName="/ppt/charts/colors19.xml" ContentType="application/vnd.ms-office.chartcolorstyle+xml"/>
  <Override PartName="/ppt/theme/themeOverride18.xml" ContentType="application/vnd.openxmlformats-officedocument.themeOverride+xml"/>
  <Override PartName="/ppt/notesSlides/notesSlide19.xml" ContentType="application/vnd.openxmlformats-officedocument.presentationml.notesSlide+xml"/>
  <Override PartName="/ppt/charts/chart21.xml" ContentType="application/vnd.openxmlformats-officedocument.drawingml.chart+xml"/>
  <Override PartName="/ppt/charts/style20.xml" ContentType="application/vnd.ms-office.chartstyle+xml"/>
  <Override PartName="/ppt/charts/colors20.xml" ContentType="application/vnd.ms-office.chartcolorstyle+xml"/>
  <Override PartName="/ppt/theme/themeOverride19.xml" ContentType="application/vnd.openxmlformats-officedocument.themeOverride+xml"/>
  <Override PartName="/ppt/notesSlides/notesSlide20.xml" ContentType="application/vnd.openxmlformats-officedocument.presentationml.notesSlide+xml"/>
  <Override PartName="/ppt/charts/chart22.xml" ContentType="application/vnd.openxmlformats-officedocument.drawingml.chart+xml"/>
  <Override PartName="/ppt/charts/style21.xml" ContentType="application/vnd.ms-office.chartstyle+xml"/>
  <Override PartName="/ppt/charts/colors21.xml" ContentType="application/vnd.ms-office.chartcolorstyle+xml"/>
  <Override PartName="/ppt/theme/themeOverride20.xml" ContentType="application/vnd.openxmlformats-officedocument.themeOverride+xml"/>
  <Override PartName="/ppt/notesSlides/notesSlide21.xml" ContentType="application/vnd.openxmlformats-officedocument.presentationml.notesSlide+xml"/>
  <Override PartName="/ppt/charts/chart23.xml" ContentType="application/vnd.openxmlformats-officedocument.drawingml.chart+xml"/>
  <Override PartName="/ppt/charts/style22.xml" ContentType="application/vnd.ms-office.chartstyle+xml"/>
  <Override PartName="/ppt/charts/colors22.xml" ContentType="application/vnd.ms-office.chartcolorstyle+xml"/>
  <Override PartName="/ppt/theme/themeOverride21.xml" ContentType="application/vnd.openxmlformats-officedocument.themeOverride+xml"/>
  <Override PartName="/ppt/tags/tag1.xml" ContentType="application/vnd.openxmlformats-officedocument.presentationml.tags+xml"/>
  <Override PartName="/ppt/notesSlides/notesSlide22.xml" ContentType="application/vnd.openxmlformats-officedocument.presentationml.notesSlide+xml"/>
  <Override PartName="/ppt/tags/tag2.xml" ContentType="application/vnd.openxmlformats-officedocument.presentationml.tags+xml"/>
  <Override PartName="/ppt/notesSlides/notesSlide23.xml" ContentType="application/vnd.openxmlformats-officedocument.presentationml.notesSlide+xml"/>
  <Override PartName="/ppt/tags/tag3.xml" ContentType="application/vnd.openxmlformats-officedocument.presentationml.tags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charts/chart24.xml" ContentType="application/vnd.openxmlformats-officedocument.drawingml.chart+xml"/>
  <Override PartName="/ppt/charts/style23.xml" ContentType="application/vnd.ms-office.chartstyle+xml"/>
  <Override PartName="/ppt/charts/colors23.xml" ContentType="application/vnd.ms-office.chartcolorstyle+xml"/>
  <Override PartName="/ppt/theme/themeOverride22.xml" ContentType="application/vnd.openxmlformats-officedocument.themeOverride+xml"/>
  <Override PartName="/ppt/charts/chart25.xml" ContentType="application/vnd.openxmlformats-officedocument.drawingml.chart+xml"/>
  <Override PartName="/ppt/charts/style24.xml" ContentType="application/vnd.ms-office.chartstyle+xml"/>
  <Override PartName="/ppt/charts/colors24.xml" ContentType="application/vnd.ms-office.chartcolorstyle+xml"/>
  <Override PartName="/ppt/theme/themeOverride23.xml" ContentType="application/vnd.openxmlformats-officedocument.themeOverride+xml"/>
  <Override PartName="/ppt/notesSlides/notesSlide26.xml" ContentType="application/vnd.openxmlformats-officedocument.presentationml.notesSlide+xml"/>
  <Override PartName="/ppt/charts/chart26.xml" ContentType="application/vnd.openxmlformats-officedocument.drawingml.chart+xml"/>
  <Override PartName="/ppt/charts/style25.xml" ContentType="application/vnd.ms-office.chartstyle+xml"/>
  <Override PartName="/ppt/charts/colors25.xml" ContentType="application/vnd.ms-office.chartcolorstyle+xml"/>
  <Override PartName="/ppt/notesSlides/notesSlide27.xml" ContentType="application/vnd.openxmlformats-officedocument.presentationml.notesSlide+xml"/>
  <Override PartName="/ppt/charts/chart27.xml" ContentType="application/vnd.openxmlformats-officedocument.drawingml.chart+xml"/>
  <Override PartName="/ppt/charts/style26.xml" ContentType="application/vnd.ms-office.chartstyle+xml"/>
  <Override PartName="/ppt/charts/colors26.xml" ContentType="application/vnd.ms-office.chartcolorstyle+xml"/>
  <Override PartName="/ppt/theme/themeOverride24.xml" ContentType="application/vnd.openxmlformats-officedocument.themeOverride+xml"/>
  <Override PartName="/ppt/charts/chart28.xml" ContentType="application/vnd.openxmlformats-officedocument.drawingml.chart+xml"/>
  <Override PartName="/ppt/charts/style27.xml" ContentType="application/vnd.ms-office.chartstyle+xml"/>
  <Override PartName="/ppt/charts/colors27.xml" ContentType="application/vnd.ms-office.chartcolorstyle+xml"/>
  <Override PartName="/ppt/theme/themeOverride25.xml" ContentType="application/vnd.openxmlformats-officedocument.themeOverride+xml"/>
  <Override PartName="/ppt/notesSlides/notesSlide28.xml" ContentType="application/vnd.openxmlformats-officedocument.presentationml.notesSlide+xml"/>
  <Override PartName="/ppt/charts/chart29.xml" ContentType="application/vnd.openxmlformats-officedocument.drawingml.chart+xml"/>
  <Override PartName="/ppt/charts/style28.xml" ContentType="application/vnd.ms-office.chartstyle+xml"/>
  <Override PartName="/ppt/charts/colors28.xml" ContentType="application/vnd.ms-office.chartcolorstyle+xml"/>
  <Override PartName="/ppt/notesSlides/notesSlide29.xml" ContentType="application/vnd.openxmlformats-officedocument.presentationml.notesSlide+xml"/>
  <Override PartName="/ppt/charts/chart30.xml" ContentType="application/vnd.openxmlformats-officedocument.drawingml.chart+xml"/>
  <Override PartName="/ppt/charts/style29.xml" ContentType="application/vnd.ms-office.chartstyle+xml"/>
  <Override PartName="/ppt/charts/colors29.xml" ContentType="application/vnd.ms-office.chartcolorstyle+xml"/>
  <Override PartName="/ppt/theme/themeOverride26.xml" ContentType="application/vnd.openxmlformats-officedocument.themeOverride+xml"/>
  <Override PartName="/ppt/charts/chart31.xml" ContentType="application/vnd.openxmlformats-officedocument.drawingml.chart+xml"/>
  <Override PartName="/ppt/charts/style30.xml" ContentType="application/vnd.ms-office.chartstyle+xml"/>
  <Override PartName="/ppt/charts/colors30.xml" ContentType="application/vnd.ms-office.chartcolorstyle+xml"/>
  <Override PartName="/ppt/theme/themeOverride27.xml" ContentType="application/vnd.openxmlformats-officedocument.themeOverride+xml"/>
  <Override PartName="/ppt/notesSlides/notesSlide30.xml" ContentType="application/vnd.openxmlformats-officedocument.presentationml.notesSlide+xml"/>
  <Override PartName="/ppt/charts/chart32.xml" ContentType="application/vnd.openxmlformats-officedocument.drawingml.chart+xml"/>
  <Override PartName="/ppt/charts/style31.xml" ContentType="application/vnd.ms-office.chartstyle+xml"/>
  <Override PartName="/ppt/charts/colors31.xml" ContentType="application/vnd.ms-office.chartcolorstyle+xml"/>
  <Override PartName="/ppt/notesSlides/notesSlide31.xml" ContentType="application/vnd.openxmlformats-officedocument.presentationml.notesSlide+xml"/>
  <Override PartName="/ppt/charts/chart33.xml" ContentType="application/vnd.openxmlformats-officedocument.drawingml.chart+xml"/>
  <Override PartName="/ppt/charts/style32.xml" ContentType="application/vnd.ms-office.chartstyle+xml"/>
  <Override PartName="/ppt/charts/colors32.xml" ContentType="application/vnd.ms-office.chartcolorstyle+xml"/>
  <Override PartName="/ppt/theme/themeOverride28.xml" ContentType="application/vnd.openxmlformats-officedocument.themeOverride+xml"/>
  <Override PartName="/ppt/drawings/drawing4.xml" ContentType="application/vnd.openxmlformats-officedocument.drawingml.chartshapes+xml"/>
  <Override PartName="/ppt/notesSlides/notesSlide32.xml" ContentType="application/vnd.openxmlformats-officedocument.presentationml.notesSlide+xml"/>
  <Override PartName="/ppt/charts/chart34.xml" ContentType="application/vnd.openxmlformats-officedocument.drawingml.chart+xml"/>
  <Override PartName="/ppt/charts/style33.xml" ContentType="application/vnd.ms-office.chartstyle+xml"/>
  <Override PartName="/ppt/charts/colors33.xml" ContentType="application/vnd.ms-office.chartcolorstyle+xml"/>
  <Override PartName="/ppt/theme/themeOverride29.xml" ContentType="application/vnd.openxmlformats-officedocument.themeOverride+xml"/>
  <Override PartName="/ppt/notesSlides/notesSlide33.xml" ContentType="application/vnd.openxmlformats-officedocument.presentationml.notesSlide+xml"/>
  <Override PartName="/ppt/charts/chart35.xml" ContentType="application/vnd.openxmlformats-officedocument.drawingml.chart+xml"/>
  <Override PartName="/ppt/charts/style34.xml" ContentType="application/vnd.ms-office.chartstyle+xml"/>
  <Override PartName="/ppt/charts/colors34.xml" ContentType="application/vnd.ms-office.chartcolorstyle+xml"/>
  <Override PartName="/ppt/theme/themeOverride30.xml" ContentType="application/vnd.openxmlformats-officedocument.themeOverride+xml"/>
  <Override PartName="/ppt/notesSlides/notesSlide34.xml" ContentType="application/vnd.openxmlformats-officedocument.presentationml.notesSlide+xml"/>
  <Override PartName="/ppt/charts/chart36.xml" ContentType="application/vnd.openxmlformats-officedocument.drawingml.chart+xml"/>
  <Override PartName="/ppt/charts/style35.xml" ContentType="application/vnd.ms-office.chartstyle+xml"/>
  <Override PartName="/ppt/charts/colors35.xml" ContentType="application/vnd.ms-office.chartcolorstyle+xml"/>
  <Override PartName="/ppt/theme/themeOverride31.xml" ContentType="application/vnd.openxmlformats-officedocument.themeOverride+xml"/>
  <Override PartName="/ppt/notesSlides/notesSlide35.xml" ContentType="application/vnd.openxmlformats-officedocument.presentationml.notesSlide+xml"/>
  <Override PartName="/ppt/charts/chart37.xml" ContentType="application/vnd.openxmlformats-officedocument.drawingml.chart+xml"/>
  <Override PartName="/ppt/charts/style36.xml" ContentType="application/vnd.ms-office.chartstyle+xml"/>
  <Override PartName="/ppt/charts/colors36.xml" ContentType="application/vnd.ms-office.chartcolorstyle+xml"/>
  <Override PartName="/ppt/theme/themeOverride32.xml" ContentType="application/vnd.openxmlformats-officedocument.themeOverride+xml"/>
  <Override PartName="/ppt/notesSlides/notesSlide36.xml" ContentType="application/vnd.openxmlformats-officedocument.presentationml.notesSlide+xml"/>
  <Override PartName="/ppt/charts/chart38.xml" ContentType="application/vnd.openxmlformats-officedocument.drawingml.chart+xml"/>
  <Override PartName="/ppt/charts/style37.xml" ContentType="application/vnd.ms-office.chartstyle+xml"/>
  <Override PartName="/ppt/charts/colors37.xml" ContentType="application/vnd.ms-office.chartcolorstyle+xml"/>
  <Override PartName="/ppt/theme/themeOverride33.xml" ContentType="application/vnd.openxmlformats-officedocument.themeOverride+xml"/>
  <Override PartName="/ppt/notesSlides/notesSlide37.xml" ContentType="application/vnd.openxmlformats-officedocument.presentationml.notesSlide+xml"/>
  <Override PartName="/ppt/charts/chart39.xml" ContentType="application/vnd.openxmlformats-officedocument.drawingml.chart+xml"/>
  <Override PartName="/ppt/charts/style38.xml" ContentType="application/vnd.ms-office.chartstyle+xml"/>
  <Override PartName="/ppt/charts/colors38.xml" ContentType="application/vnd.ms-office.chartcolorstyle+xml"/>
  <Override PartName="/ppt/theme/themeOverride34.xml" ContentType="application/vnd.openxmlformats-officedocument.themeOverride+xml"/>
  <Override PartName="/ppt/notesSlides/notesSlide38.xml" ContentType="application/vnd.openxmlformats-officedocument.presentationml.notesSlide+xml"/>
  <Override PartName="/ppt/charts/chart40.xml" ContentType="application/vnd.openxmlformats-officedocument.drawingml.chart+xml"/>
  <Override PartName="/ppt/charts/style39.xml" ContentType="application/vnd.ms-office.chartstyle+xml"/>
  <Override PartName="/ppt/charts/colors39.xml" ContentType="application/vnd.ms-office.chartcolorstyle+xml"/>
  <Override PartName="/ppt/theme/themeOverride35.xml" ContentType="application/vnd.openxmlformats-officedocument.themeOverride+xml"/>
  <Override PartName="/ppt/notesSlides/notesSlide39.xml" ContentType="application/vnd.openxmlformats-officedocument.presentationml.notesSlide+xml"/>
  <Override PartName="/ppt/charts/chart41.xml" ContentType="application/vnd.openxmlformats-officedocument.drawingml.chart+xml"/>
  <Override PartName="/ppt/notesSlides/notesSlide40.xml" ContentType="application/vnd.openxmlformats-officedocument.presentationml.notesSlide+xml"/>
  <Override PartName="/ppt/charts/chart42.xml" ContentType="application/vnd.openxmlformats-officedocument.drawingml.chart+xml"/>
  <Override PartName="/ppt/notesSlides/notesSlide41.xml" ContentType="application/vnd.openxmlformats-officedocument.presentationml.notesSlide+xml"/>
  <Override PartName="/ppt/charts/chart43.xml" ContentType="application/vnd.openxmlformats-officedocument.drawingml.chart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62" r:id="rId1"/>
    <p:sldMasterId id="2147483648" r:id="rId2"/>
  </p:sldMasterIdLst>
  <p:notesMasterIdLst>
    <p:notesMasterId r:id="rId62"/>
  </p:notesMasterIdLst>
  <p:handoutMasterIdLst>
    <p:handoutMasterId r:id="rId63"/>
  </p:handoutMasterIdLst>
  <p:sldIdLst>
    <p:sldId id="296" r:id="rId3"/>
    <p:sldId id="862" r:id="rId4"/>
    <p:sldId id="2145710387" r:id="rId5"/>
    <p:sldId id="297" r:id="rId6"/>
    <p:sldId id="2145710352" r:id="rId7"/>
    <p:sldId id="2145710346" r:id="rId8"/>
    <p:sldId id="2145710298" r:id="rId9"/>
    <p:sldId id="2145710424" r:id="rId10"/>
    <p:sldId id="2145710435" r:id="rId11"/>
    <p:sldId id="2145710361" r:id="rId12"/>
    <p:sldId id="2145710360" r:id="rId13"/>
    <p:sldId id="2145710348" r:id="rId14"/>
    <p:sldId id="2145710322" r:id="rId15"/>
    <p:sldId id="2145710489" r:id="rId16"/>
    <p:sldId id="331" r:id="rId17"/>
    <p:sldId id="2145710362" r:id="rId18"/>
    <p:sldId id="2145710363" r:id="rId19"/>
    <p:sldId id="2145710490" r:id="rId20"/>
    <p:sldId id="2145710332" r:id="rId21"/>
    <p:sldId id="2145710364" r:id="rId22"/>
    <p:sldId id="2145710365" r:id="rId23"/>
    <p:sldId id="2145710486" r:id="rId24"/>
    <p:sldId id="2145710431" r:id="rId25"/>
    <p:sldId id="2145710366" r:id="rId26"/>
    <p:sldId id="2145710367" r:id="rId27"/>
    <p:sldId id="2145710293" r:id="rId28"/>
    <p:sldId id="2145710434" r:id="rId29"/>
    <p:sldId id="2145710368" r:id="rId30"/>
    <p:sldId id="2145710369" r:id="rId31"/>
    <p:sldId id="2145710314" r:id="rId32"/>
    <p:sldId id="2145710315" r:id="rId33"/>
    <p:sldId id="2145710340" r:id="rId34"/>
    <p:sldId id="2145710370" r:id="rId35"/>
    <p:sldId id="2145710371" r:id="rId36"/>
    <p:sldId id="2145710309" r:id="rId37"/>
    <p:sldId id="2145710321" r:id="rId38"/>
    <p:sldId id="2145710320" r:id="rId39"/>
    <p:sldId id="2145710343" r:id="rId40"/>
    <p:sldId id="2145710372" r:id="rId41"/>
    <p:sldId id="2145710373" r:id="rId42"/>
    <p:sldId id="2145710374" r:id="rId43"/>
    <p:sldId id="2145710394" r:id="rId44"/>
    <p:sldId id="2145710375" r:id="rId45"/>
    <p:sldId id="2145710392" r:id="rId46"/>
    <p:sldId id="2145710376" r:id="rId47"/>
    <p:sldId id="2145710395" r:id="rId48"/>
    <p:sldId id="2145710377" r:id="rId49"/>
    <p:sldId id="2145710471" r:id="rId50"/>
    <p:sldId id="2145710296" r:id="rId51"/>
    <p:sldId id="2145710488" r:id="rId52"/>
    <p:sldId id="2145710409" r:id="rId53"/>
    <p:sldId id="2145710410" r:id="rId54"/>
    <p:sldId id="2145710413" r:id="rId55"/>
    <p:sldId id="2145710440" r:id="rId56"/>
    <p:sldId id="2145710383" r:id="rId57"/>
    <p:sldId id="2145710453" r:id="rId58"/>
    <p:sldId id="2145710454" r:id="rId59"/>
    <p:sldId id="2145710456" r:id="rId60"/>
    <p:sldId id="2145710386" r:id="rId61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397CB"/>
    <a:srgbClr val="7F7F7F"/>
    <a:srgbClr val="000000"/>
    <a:srgbClr val="358B3B"/>
    <a:srgbClr val="162C40"/>
    <a:srgbClr val="172031"/>
    <a:srgbClr val="2D98D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965" autoAdjust="0"/>
    <p:restoredTop sz="94676"/>
  </p:normalViewPr>
  <p:slideViewPr>
    <p:cSldViewPr snapToGrid="0" snapToObjects="1">
      <p:cViewPr varScale="1">
        <p:scale>
          <a:sx n="106" d="100"/>
          <a:sy n="106" d="100"/>
        </p:scale>
        <p:origin x="1120" y="16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 snapToObjects="1">
      <p:cViewPr varScale="1">
        <p:scale>
          <a:sx n="97" d="100"/>
          <a:sy n="97" d="100"/>
        </p:scale>
        <p:origin x="3120" y="20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26" Type="http://schemas.openxmlformats.org/officeDocument/2006/relationships/slide" Target="slides/slide24.xml"/><Relationship Id="rId21" Type="http://schemas.openxmlformats.org/officeDocument/2006/relationships/slide" Target="slides/slide19.xml"/><Relationship Id="rId34" Type="http://schemas.openxmlformats.org/officeDocument/2006/relationships/slide" Target="slides/slide32.xml"/><Relationship Id="rId42" Type="http://schemas.openxmlformats.org/officeDocument/2006/relationships/slide" Target="slides/slide40.xml"/><Relationship Id="rId47" Type="http://schemas.openxmlformats.org/officeDocument/2006/relationships/slide" Target="slides/slide45.xml"/><Relationship Id="rId50" Type="http://schemas.openxmlformats.org/officeDocument/2006/relationships/slide" Target="slides/slide48.xml"/><Relationship Id="rId55" Type="http://schemas.openxmlformats.org/officeDocument/2006/relationships/slide" Target="slides/slide53.xml"/><Relationship Id="rId63" Type="http://schemas.openxmlformats.org/officeDocument/2006/relationships/handoutMaster" Target="handoutMasters/handoutMaster1.xml"/><Relationship Id="rId7" Type="http://schemas.openxmlformats.org/officeDocument/2006/relationships/slide" Target="slides/slide5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9" Type="http://schemas.openxmlformats.org/officeDocument/2006/relationships/slide" Target="slides/slide27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32" Type="http://schemas.openxmlformats.org/officeDocument/2006/relationships/slide" Target="slides/slide30.xml"/><Relationship Id="rId37" Type="http://schemas.openxmlformats.org/officeDocument/2006/relationships/slide" Target="slides/slide35.xml"/><Relationship Id="rId40" Type="http://schemas.openxmlformats.org/officeDocument/2006/relationships/slide" Target="slides/slide38.xml"/><Relationship Id="rId45" Type="http://schemas.openxmlformats.org/officeDocument/2006/relationships/slide" Target="slides/slide43.xml"/><Relationship Id="rId53" Type="http://schemas.openxmlformats.org/officeDocument/2006/relationships/slide" Target="slides/slide51.xml"/><Relationship Id="rId58" Type="http://schemas.openxmlformats.org/officeDocument/2006/relationships/slide" Target="slides/slide56.xml"/><Relationship Id="rId66" Type="http://schemas.openxmlformats.org/officeDocument/2006/relationships/theme" Target="theme/theme1.xml"/><Relationship Id="rId5" Type="http://schemas.openxmlformats.org/officeDocument/2006/relationships/slide" Target="slides/slide3.xml"/><Relationship Id="rId61" Type="http://schemas.openxmlformats.org/officeDocument/2006/relationships/slide" Target="slides/slide59.xml"/><Relationship Id="rId19" Type="http://schemas.openxmlformats.org/officeDocument/2006/relationships/slide" Target="slides/slide1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slide" Target="slides/slide25.xml"/><Relationship Id="rId30" Type="http://schemas.openxmlformats.org/officeDocument/2006/relationships/slide" Target="slides/slide28.xml"/><Relationship Id="rId35" Type="http://schemas.openxmlformats.org/officeDocument/2006/relationships/slide" Target="slides/slide33.xml"/><Relationship Id="rId43" Type="http://schemas.openxmlformats.org/officeDocument/2006/relationships/slide" Target="slides/slide41.xml"/><Relationship Id="rId48" Type="http://schemas.openxmlformats.org/officeDocument/2006/relationships/slide" Target="slides/slide46.xml"/><Relationship Id="rId56" Type="http://schemas.openxmlformats.org/officeDocument/2006/relationships/slide" Target="slides/slide54.xml"/><Relationship Id="rId64" Type="http://schemas.openxmlformats.org/officeDocument/2006/relationships/presProps" Target="presProps.xml"/><Relationship Id="rId8" Type="http://schemas.openxmlformats.org/officeDocument/2006/relationships/slide" Target="slides/slide6.xml"/><Relationship Id="rId51" Type="http://schemas.openxmlformats.org/officeDocument/2006/relationships/slide" Target="slides/slide49.xml"/><Relationship Id="rId3" Type="http://schemas.openxmlformats.org/officeDocument/2006/relationships/slide" Target="slides/slide1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33" Type="http://schemas.openxmlformats.org/officeDocument/2006/relationships/slide" Target="slides/slide31.xml"/><Relationship Id="rId38" Type="http://schemas.openxmlformats.org/officeDocument/2006/relationships/slide" Target="slides/slide36.xml"/><Relationship Id="rId46" Type="http://schemas.openxmlformats.org/officeDocument/2006/relationships/slide" Target="slides/slide44.xml"/><Relationship Id="rId59" Type="http://schemas.openxmlformats.org/officeDocument/2006/relationships/slide" Target="slides/slide57.xml"/><Relationship Id="rId67" Type="http://schemas.openxmlformats.org/officeDocument/2006/relationships/tableStyles" Target="tableStyles.xml"/><Relationship Id="rId20" Type="http://schemas.openxmlformats.org/officeDocument/2006/relationships/slide" Target="slides/slide18.xml"/><Relationship Id="rId41" Type="http://schemas.openxmlformats.org/officeDocument/2006/relationships/slide" Target="slides/slide39.xml"/><Relationship Id="rId54" Type="http://schemas.openxmlformats.org/officeDocument/2006/relationships/slide" Target="slides/slide52.xml"/><Relationship Id="rId62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slide" Target="slides/slide26.xml"/><Relationship Id="rId36" Type="http://schemas.openxmlformats.org/officeDocument/2006/relationships/slide" Target="slides/slide34.xml"/><Relationship Id="rId49" Type="http://schemas.openxmlformats.org/officeDocument/2006/relationships/slide" Target="slides/slide47.xml"/><Relationship Id="rId57" Type="http://schemas.openxmlformats.org/officeDocument/2006/relationships/slide" Target="slides/slide55.xml"/><Relationship Id="rId10" Type="http://schemas.openxmlformats.org/officeDocument/2006/relationships/slide" Target="slides/slide8.xml"/><Relationship Id="rId31" Type="http://schemas.openxmlformats.org/officeDocument/2006/relationships/slide" Target="slides/slide29.xml"/><Relationship Id="rId44" Type="http://schemas.openxmlformats.org/officeDocument/2006/relationships/slide" Target="slides/slide42.xml"/><Relationship Id="rId52" Type="http://schemas.openxmlformats.org/officeDocument/2006/relationships/slide" Target="slides/slide50.xml"/><Relationship Id="rId60" Type="http://schemas.openxmlformats.org/officeDocument/2006/relationships/slide" Target="slides/slide58.xml"/><Relationship Id="rId65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39" Type="http://schemas.openxmlformats.org/officeDocument/2006/relationships/slide" Target="slides/slide3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1.xml"/><Relationship Id="rId1" Type="http://schemas.microsoft.com/office/2011/relationships/chartStyle" Target="style1.xml"/><Relationship Id="rId5" Type="http://schemas.openxmlformats.org/officeDocument/2006/relationships/chartUserShapes" Target="../drawings/drawing1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0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Colleen%20Cullinan\Dropbox%20(FTR)\FTR%20Analysts\Graphs%20-%20Powerpoint\Truck-Econ%20Graphs%20for%20WTU.xlsx" TargetMode="External"/><Relationship Id="rId2" Type="http://schemas.microsoft.com/office/2011/relationships/chartColorStyle" Target="colors9.xml"/><Relationship Id="rId1" Type="http://schemas.microsoft.com/office/2011/relationships/chartStyle" Target="style9.xml"/><Relationship Id="rId4" Type="http://schemas.openxmlformats.org/officeDocument/2006/relationships/chartUserShapes" Target="../drawings/drawing3.xml"/></Relationships>
</file>

<file path=ppt/charts/_rels/chart1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9.xml"/><Relationship Id="rId2" Type="http://schemas.microsoft.com/office/2011/relationships/chartColorStyle" Target="colors10.xml"/><Relationship Id="rId1" Type="http://schemas.microsoft.com/office/2011/relationships/chartStyle" Target="style10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0.xml"/><Relationship Id="rId2" Type="http://schemas.microsoft.com/office/2011/relationships/chartColorStyle" Target="colors11.xml"/><Relationship Id="rId1" Type="http://schemas.microsoft.com/office/2011/relationships/chartStyle" Target="style11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1.xml"/><Relationship Id="rId2" Type="http://schemas.microsoft.com/office/2011/relationships/chartColorStyle" Target="colors12.xml"/><Relationship Id="rId1" Type="http://schemas.microsoft.com/office/2011/relationships/chartStyle" Target="style12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2.xml"/><Relationship Id="rId2" Type="http://schemas.microsoft.com/office/2011/relationships/chartColorStyle" Target="colors13.xml"/><Relationship Id="rId1" Type="http://schemas.microsoft.com/office/2011/relationships/chartStyle" Target="style13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3.xml"/><Relationship Id="rId2" Type="http://schemas.microsoft.com/office/2011/relationships/chartColorStyle" Target="colors14.xml"/><Relationship Id="rId1" Type="http://schemas.microsoft.com/office/2011/relationships/chartStyle" Target="style14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4.xml"/><Relationship Id="rId2" Type="http://schemas.microsoft.com/office/2011/relationships/chartColorStyle" Target="colors15.xml"/><Relationship Id="rId1" Type="http://schemas.microsoft.com/office/2011/relationships/chartStyle" Target="style15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5.xml"/><Relationship Id="rId2" Type="http://schemas.microsoft.com/office/2011/relationships/chartColorStyle" Target="colors16.xml"/><Relationship Id="rId1" Type="http://schemas.microsoft.com/office/2011/relationships/chartStyle" Target="style16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6.xml"/><Relationship Id="rId2" Type="http://schemas.microsoft.com/office/2011/relationships/chartColorStyle" Target="colors17.xml"/><Relationship Id="rId1" Type="http://schemas.microsoft.com/office/2011/relationships/chartStyle" Target="style17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1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7.xml"/><Relationship Id="rId2" Type="http://schemas.microsoft.com/office/2011/relationships/chartColorStyle" Target="colors18.xml"/><Relationship Id="rId1" Type="http://schemas.microsoft.com/office/2011/relationships/chartStyle" Target="style18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2.xml"/><Relationship Id="rId1" Type="http://schemas.microsoft.com/office/2011/relationships/chartStyle" Target="style2.xml"/><Relationship Id="rId4" Type="http://schemas.openxmlformats.org/officeDocument/2006/relationships/oleObject" Target="file:///C:\Users\Avery%20Vise\Dropbox%20(FTR)\FTR%20Analysts\Graphs%20-%20Powerpoint\Truck-Econ%20Graphs%20for%20WTU.xlsx" TargetMode="External"/></Relationships>
</file>

<file path=ppt/charts/_rels/chart2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8.xml"/><Relationship Id="rId2" Type="http://schemas.microsoft.com/office/2011/relationships/chartColorStyle" Target="colors19.xml"/><Relationship Id="rId1" Type="http://schemas.microsoft.com/office/2011/relationships/chartStyle" Target="style19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2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9.xml"/><Relationship Id="rId2" Type="http://schemas.microsoft.com/office/2011/relationships/chartColorStyle" Target="colors20.xml"/><Relationship Id="rId1" Type="http://schemas.microsoft.com/office/2011/relationships/chartStyle" Target="style20.xml"/><Relationship Id="rId4" Type="http://schemas.openxmlformats.org/officeDocument/2006/relationships/oleObject" Target="file:///C:\Users\Avery%20Vise\Dropbox%20(FTR)\PC\Desktop\Miscellaneous\Inflation%20adjusted%20core%20capital%20goods%20orders.xlsx" TargetMode="External"/></Relationships>
</file>

<file path=ppt/charts/_rels/chart22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0.xml"/><Relationship Id="rId2" Type="http://schemas.microsoft.com/office/2011/relationships/chartColorStyle" Target="colors21.xml"/><Relationship Id="rId1" Type="http://schemas.microsoft.com/office/2011/relationships/chartStyle" Target="style21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2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1.xml"/><Relationship Id="rId2" Type="http://schemas.microsoft.com/office/2011/relationships/chartColorStyle" Target="colors22.xml"/><Relationship Id="rId1" Type="http://schemas.microsoft.com/office/2011/relationships/chartStyle" Target="style22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2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2.xml"/><Relationship Id="rId2" Type="http://schemas.microsoft.com/office/2011/relationships/chartColorStyle" Target="colors23.xml"/><Relationship Id="rId1" Type="http://schemas.microsoft.com/office/2011/relationships/chartStyle" Target="style23.xml"/><Relationship Id="rId4" Type="http://schemas.openxmlformats.org/officeDocument/2006/relationships/oleObject" Target="file:///C:\Users\Avery%20Vise\Desktop\Data\T4C\Spot%20Market%20Data_Master.xlsx" TargetMode="External"/></Relationships>
</file>

<file path=ppt/charts/_rels/chart2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3.xml"/><Relationship Id="rId2" Type="http://schemas.microsoft.com/office/2011/relationships/chartColorStyle" Target="colors24.xml"/><Relationship Id="rId1" Type="http://schemas.microsoft.com/office/2011/relationships/chartStyle" Target="style24.xml"/><Relationship Id="rId4" Type="http://schemas.openxmlformats.org/officeDocument/2006/relationships/oleObject" Target="file:///C:\Users\Avery%20Vise\Desktop\Data\T4C\Spot%20Market%20Data_Master.xlsx" TargetMode="External"/></Relationships>
</file>

<file path=ppt/charts/_rels/chart2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25.xml"/><Relationship Id="rId1" Type="http://schemas.microsoft.com/office/2011/relationships/chartStyle" Target="style25.xml"/></Relationships>
</file>

<file path=ppt/charts/_rels/chart2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4.xml"/><Relationship Id="rId2" Type="http://schemas.microsoft.com/office/2011/relationships/chartColorStyle" Target="colors26.xml"/><Relationship Id="rId1" Type="http://schemas.microsoft.com/office/2011/relationships/chartStyle" Target="style26.xml"/><Relationship Id="rId4" Type="http://schemas.openxmlformats.org/officeDocument/2006/relationships/oleObject" Target="file:///C:\Users\Avery%20Vise\Desktop\Data\T4C\Spot%20Market%20Data_Master.xlsx" TargetMode="External"/></Relationships>
</file>

<file path=ppt/charts/_rels/chart2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5.xml"/><Relationship Id="rId2" Type="http://schemas.microsoft.com/office/2011/relationships/chartColorStyle" Target="colors27.xml"/><Relationship Id="rId1" Type="http://schemas.microsoft.com/office/2011/relationships/chartStyle" Target="style27.xml"/><Relationship Id="rId4" Type="http://schemas.openxmlformats.org/officeDocument/2006/relationships/oleObject" Target="file:///C:\Users\Avery%20Vise\Desktop\Data\T4C\Spot%20Market%20Data_Master.xlsx" TargetMode="External"/></Relationships>
</file>

<file path=ppt/charts/_rels/chart2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8.xml"/><Relationship Id="rId1" Type="http://schemas.microsoft.com/office/2011/relationships/chartStyle" Target="style28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3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6.xml"/><Relationship Id="rId2" Type="http://schemas.microsoft.com/office/2011/relationships/chartColorStyle" Target="colors29.xml"/><Relationship Id="rId1" Type="http://schemas.microsoft.com/office/2011/relationships/chartStyle" Target="style29.xml"/><Relationship Id="rId4" Type="http://schemas.openxmlformats.org/officeDocument/2006/relationships/oleObject" Target="file:///C:\Users\Avery%20Vise\Desktop\Data\T4C\Spot%20Market%20Data_Master.xlsx" TargetMode="External"/></Relationships>
</file>

<file path=ppt/charts/_rels/chart31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7.xml"/><Relationship Id="rId2" Type="http://schemas.microsoft.com/office/2011/relationships/chartColorStyle" Target="colors30.xml"/><Relationship Id="rId1" Type="http://schemas.microsoft.com/office/2011/relationships/chartStyle" Target="style30.xml"/><Relationship Id="rId4" Type="http://schemas.openxmlformats.org/officeDocument/2006/relationships/oleObject" Target="file:///C:\Users\Avery%20Vise\Desktop\Data\T4C\Spot%20Market%20Data_Master.xlsx" TargetMode="External"/></Relationships>
</file>

<file path=ppt/charts/_rels/chart3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1.xml"/><Relationship Id="rId1" Type="http://schemas.microsoft.com/office/2011/relationships/chartStyle" Target="style31.xml"/></Relationships>
</file>

<file path=ppt/charts/_rels/chart33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8.xml"/><Relationship Id="rId2" Type="http://schemas.microsoft.com/office/2011/relationships/chartColorStyle" Target="colors32.xml"/><Relationship Id="rId1" Type="http://schemas.microsoft.com/office/2011/relationships/chartStyle" Target="style32.xml"/><Relationship Id="rId5" Type="http://schemas.openxmlformats.org/officeDocument/2006/relationships/chartUserShapes" Target="../drawings/drawing4.xml"/><Relationship Id="rId4" Type="http://schemas.openxmlformats.org/officeDocument/2006/relationships/oleObject" Target="file:///C:\Users\Avery%20Vise\Dropbox%20(FTR)\PC\Desktop\Miscellaneous\Weekly%20AAR%20History.xlsm" TargetMode="External"/></Relationships>
</file>

<file path=ppt/charts/_rels/chart3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9.xml"/><Relationship Id="rId2" Type="http://schemas.microsoft.com/office/2011/relationships/chartColorStyle" Target="colors33.xml"/><Relationship Id="rId1" Type="http://schemas.microsoft.com/office/2011/relationships/chartStyle" Target="style33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3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0.xml"/><Relationship Id="rId2" Type="http://schemas.microsoft.com/office/2011/relationships/chartColorStyle" Target="colors34.xml"/><Relationship Id="rId1" Type="http://schemas.microsoft.com/office/2011/relationships/chartStyle" Target="style34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36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1.xml"/><Relationship Id="rId2" Type="http://schemas.microsoft.com/office/2011/relationships/chartColorStyle" Target="colors35.xml"/><Relationship Id="rId1" Type="http://schemas.microsoft.com/office/2011/relationships/chartStyle" Target="style35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3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2.xml"/><Relationship Id="rId2" Type="http://schemas.microsoft.com/office/2011/relationships/chartColorStyle" Target="colors36.xml"/><Relationship Id="rId1" Type="http://schemas.microsoft.com/office/2011/relationships/chartStyle" Target="style36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3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3.xml"/><Relationship Id="rId2" Type="http://schemas.microsoft.com/office/2011/relationships/chartColorStyle" Target="colors37.xml"/><Relationship Id="rId1" Type="http://schemas.microsoft.com/office/2011/relationships/chartStyle" Target="style37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3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4.xml"/><Relationship Id="rId2" Type="http://schemas.microsoft.com/office/2011/relationships/chartColorStyle" Target="colors38.xml"/><Relationship Id="rId1" Type="http://schemas.microsoft.com/office/2011/relationships/chartStyle" Target="style38.xml"/><Relationship Id="rId4" Type="http://schemas.openxmlformats.org/officeDocument/2006/relationships/oleObject" Target="../embeddings/oleObject3.bin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40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35.xml"/><Relationship Id="rId2" Type="http://schemas.microsoft.com/office/2011/relationships/chartColorStyle" Target="colors39.xml"/><Relationship Id="rId1" Type="http://schemas.microsoft.com/office/2011/relationships/chartStyle" Target="style39.xml"/><Relationship Id="rId4" Type="http://schemas.openxmlformats.org/officeDocument/2006/relationships/oleObject" Target="file:///C:\Users\Avery%20Vise\Dropbox%20(FTR)\PC\Desktop\Publications\WTU\Graph%20Files\Truck-Econ%20Graphs%20for%20WTU.xlsx" TargetMode="External"/></Relationships>
</file>

<file path=ppt/charts/_rels/chart4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3.xlsx"/></Relationships>
</file>

<file path=ppt/charts/_rels/chart4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4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5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5.xml"/><Relationship Id="rId2" Type="http://schemas.microsoft.com/office/2011/relationships/chartColorStyle" Target="colors5.xml"/><Relationship Id="rId1" Type="http://schemas.microsoft.com/office/2011/relationships/chartStyle" Target="style5.xml"/><Relationship Id="rId4" Type="http://schemas.openxmlformats.org/officeDocument/2006/relationships/oleObject" Target="file:///C:\Users\Avery%20Vise\Dropbox%20(FTR)\FTR%20Analysts\Graphs%20-%20Powerpoint\Truck-Econ%20Graphs%20for%20WTU.xlsx" TargetMode="Externa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chartUserShapes" Target="../drawings/drawing2.xml"/><Relationship Id="rId1" Type="http://schemas.openxmlformats.org/officeDocument/2006/relationships/oleObject" Target="file:///C:\Users\jstar\Dropbox%20(FTR)\Downloads\AHE-JO.xlsx" TargetMode="External"/></Relationships>
</file>

<file path=ppt/charts/_rels/chart7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6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oleObject" Target="file:///C:\Users\Avery%20Vise\Dropbox%20(FTR)\FTR%20Analysts\Graphs%20-%20Powerpoint\Truck-Econ%20Graphs%20for%20WTU.xlsx" TargetMode="Externa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7.xml"/><Relationship Id="rId2" Type="http://schemas.microsoft.com/office/2011/relationships/chartColorStyle" Target="colors7.xml"/><Relationship Id="rId1" Type="http://schemas.microsoft.com/office/2011/relationships/chartStyle" Target="style7.xml"/><Relationship Id="rId4" Type="http://schemas.openxmlformats.org/officeDocument/2006/relationships/oleObject" Target="file:///C:\Users\Avery%20Vise\Dropbox%20(FTR)\FTR%20Analysts\Graphs%20-%20Powerpoint\Truck-Econ%20Graphs%20for%20WTU.xlsx" TargetMode="Externa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8.xml"/><Relationship Id="rId2" Type="http://schemas.microsoft.com/office/2011/relationships/chartColorStyle" Target="colors8.xml"/><Relationship Id="rId1" Type="http://schemas.microsoft.com/office/2011/relationships/chartStyle" Target="style8.xml"/><Relationship Id="rId4" Type="http://schemas.openxmlformats.org/officeDocument/2006/relationships/oleObject" Target="file:///C:\Users\Avery%20Vise\Dropbox%20(FTR)\FTR%20Analysts\Graphs%20-%20Powerpoint\Truck-Econ%20Graphs%20for%20WTU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2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baseline="0" dirty="0">
                <a:solidFill>
                  <a:schemeClr val="tx1"/>
                </a:solidFill>
                <a:effectLst/>
              </a:rPr>
              <a:t>Truck trailers and chassis, axle rating of 10,000 lbs. or more (100 = December 1979), not adjusted</a:t>
            </a:r>
            <a:endParaRPr lang="en-US" sz="1400" dirty="0">
              <a:solidFill>
                <a:schemeClr val="tx1"/>
              </a:solidFill>
              <a:effectLst/>
            </a:endParaRPr>
          </a:p>
        </c:rich>
      </c:tx>
      <c:layout>
        <c:manualLayout>
          <c:xMode val="edge"/>
          <c:yMode val="edge"/>
          <c:x val="5.3794457757997641E-2"/>
          <c:y val="1.7361863224346031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2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3911265899454885E-2"/>
          <c:y val="7.4278410365990491E-2"/>
          <c:w val="0.89201721179083382"/>
          <c:h val="0.76568788276465449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PPI-Trailers'!$C$1</c:f>
              <c:strCache>
                <c:ptCount val="1"/>
                <c:pt idx="0">
                  <c:v> Y/Y change (right axis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cat>
            <c:strRef>
              <c:f>'PPI-Trailers'!$A$2:$A$189</c:f>
              <c:strCache>
                <c:ptCount val="187"/>
                <c:pt idx="0">
                  <c:v>2008</c:v>
                </c:pt>
                <c:pt idx="1">
                  <c:v>Feb-08</c:v>
                </c:pt>
                <c:pt idx="2">
                  <c:v>Mar-08</c:v>
                </c:pt>
                <c:pt idx="3">
                  <c:v>Apr-08</c:v>
                </c:pt>
                <c:pt idx="4">
                  <c:v>May-08</c:v>
                </c:pt>
                <c:pt idx="5">
                  <c:v>Jun-08</c:v>
                </c:pt>
                <c:pt idx="6">
                  <c:v>Jul-08</c:v>
                </c:pt>
                <c:pt idx="7">
                  <c:v>Aug-08</c:v>
                </c:pt>
                <c:pt idx="8">
                  <c:v>Sep-08</c:v>
                </c:pt>
                <c:pt idx="9">
                  <c:v>Oct-08</c:v>
                </c:pt>
                <c:pt idx="10">
                  <c:v>Nov-08</c:v>
                </c:pt>
                <c:pt idx="11">
                  <c:v>Dec-08</c:v>
                </c:pt>
                <c:pt idx="12">
                  <c:v>2009</c:v>
                </c:pt>
                <c:pt idx="13">
                  <c:v>Feb-09</c:v>
                </c:pt>
                <c:pt idx="14">
                  <c:v>Mar-09</c:v>
                </c:pt>
                <c:pt idx="15">
                  <c:v>Apr-09</c:v>
                </c:pt>
                <c:pt idx="16">
                  <c:v>May-09</c:v>
                </c:pt>
                <c:pt idx="17">
                  <c:v>Jun-09</c:v>
                </c:pt>
                <c:pt idx="18">
                  <c:v>Jul-09</c:v>
                </c:pt>
                <c:pt idx="19">
                  <c:v>Aug-09</c:v>
                </c:pt>
                <c:pt idx="20">
                  <c:v>Sep-09</c:v>
                </c:pt>
                <c:pt idx="21">
                  <c:v>Oct-09</c:v>
                </c:pt>
                <c:pt idx="22">
                  <c:v>Nov-09</c:v>
                </c:pt>
                <c:pt idx="23">
                  <c:v>Dec-09</c:v>
                </c:pt>
                <c:pt idx="24">
                  <c:v>2010</c:v>
                </c:pt>
                <c:pt idx="25">
                  <c:v>10-Feb</c:v>
                </c:pt>
                <c:pt idx="26">
                  <c:v>10-Mar</c:v>
                </c:pt>
                <c:pt idx="27">
                  <c:v>10-Apr</c:v>
                </c:pt>
                <c:pt idx="28">
                  <c:v>10-May</c:v>
                </c:pt>
                <c:pt idx="29">
                  <c:v>10-Jun</c:v>
                </c:pt>
                <c:pt idx="30">
                  <c:v>10-Jul</c:v>
                </c:pt>
                <c:pt idx="31">
                  <c:v>10-Aug</c:v>
                </c:pt>
                <c:pt idx="32">
                  <c:v>10-Sep</c:v>
                </c:pt>
                <c:pt idx="33">
                  <c:v>10-Oct</c:v>
                </c:pt>
                <c:pt idx="34">
                  <c:v>10-Nov</c:v>
                </c:pt>
                <c:pt idx="35">
                  <c:v>10-Dec</c:v>
                </c:pt>
                <c:pt idx="36">
                  <c:v>2011</c:v>
                </c:pt>
                <c:pt idx="37">
                  <c:v>11-Feb</c:v>
                </c:pt>
                <c:pt idx="38">
                  <c:v>11-Mar</c:v>
                </c:pt>
                <c:pt idx="39">
                  <c:v>11-Apr</c:v>
                </c:pt>
                <c:pt idx="40">
                  <c:v>11-May</c:v>
                </c:pt>
                <c:pt idx="41">
                  <c:v>11-Jun</c:v>
                </c:pt>
                <c:pt idx="42">
                  <c:v>11-Jul</c:v>
                </c:pt>
                <c:pt idx="43">
                  <c:v>11-Aug</c:v>
                </c:pt>
                <c:pt idx="44">
                  <c:v>11-Sep</c:v>
                </c:pt>
                <c:pt idx="45">
                  <c:v>11-Oct</c:v>
                </c:pt>
                <c:pt idx="46">
                  <c:v>11-Nov</c:v>
                </c:pt>
                <c:pt idx="47">
                  <c:v>11-Dec</c:v>
                </c:pt>
                <c:pt idx="48">
                  <c:v>2012</c:v>
                </c:pt>
                <c:pt idx="49">
                  <c:v>12-Feb</c:v>
                </c:pt>
                <c:pt idx="50">
                  <c:v>12-Mar</c:v>
                </c:pt>
                <c:pt idx="51">
                  <c:v>12-Apr</c:v>
                </c:pt>
                <c:pt idx="52">
                  <c:v>12-May</c:v>
                </c:pt>
                <c:pt idx="53">
                  <c:v>12-Jun</c:v>
                </c:pt>
                <c:pt idx="54">
                  <c:v>12-Jul</c:v>
                </c:pt>
                <c:pt idx="55">
                  <c:v>12-Aug</c:v>
                </c:pt>
                <c:pt idx="56">
                  <c:v>12-Sep</c:v>
                </c:pt>
                <c:pt idx="57">
                  <c:v>12-Oct</c:v>
                </c:pt>
                <c:pt idx="58">
                  <c:v>12-Nov</c:v>
                </c:pt>
                <c:pt idx="59">
                  <c:v>12-Dec</c:v>
                </c:pt>
                <c:pt idx="60">
                  <c:v>2013</c:v>
                </c:pt>
                <c:pt idx="61">
                  <c:v>13-Feb</c:v>
                </c:pt>
                <c:pt idx="62">
                  <c:v>13-Mar</c:v>
                </c:pt>
                <c:pt idx="63">
                  <c:v>13-Apr</c:v>
                </c:pt>
                <c:pt idx="64">
                  <c:v>13-May</c:v>
                </c:pt>
                <c:pt idx="65">
                  <c:v>13-Jun</c:v>
                </c:pt>
                <c:pt idx="66">
                  <c:v>13-Jul</c:v>
                </c:pt>
                <c:pt idx="67">
                  <c:v>13-Aug</c:v>
                </c:pt>
                <c:pt idx="68">
                  <c:v>13-Sep</c:v>
                </c:pt>
                <c:pt idx="69">
                  <c:v>13-Oct</c:v>
                </c:pt>
                <c:pt idx="70">
                  <c:v>13-Nov</c:v>
                </c:pt>
                <c:pt idx="71">
                  <c:v>13-Dec</c:v>
                </c:pt>
                <c:pt idx="72">
                  <c:v>2014</c:v>
                </c:pt>
                <c:pt idx="73">
                  <c:v>14-Feb</c:v>
                </c:pt>
                <c:pt idx="74">
                  <c:v>14-Mar</c:v>
                </c:pt>
                <c:pt idx="75">
                  <c:v>14-Apr</c:v>
                </c:pt>
                <c:pt idx="76">
                  <c:v>14-May</c:v>
                </c:pt>
                <c:pt idx="77">
                  <c:v>14-Jun</c:v>
                </c:pt>
                <c:pt idx="78">
                  <c:v>14-Jul</c:v>
                </c:pt>
                <c:pt idx="79">
                  <c:v>14-Aug</c:v>
                </c:pt>
                <c:pt idx="80">
                  <c:v>14-Sep</c:v>
                </c:pt>
                <c:pt idx="81">
                  <c:v>14-Oct</c:v>
                </c:pt>
                <c:pt idx="82">
                  <c:v>14-Nov</c:v>
                </c:pt>
                <c:pt idx="83">
                  <c:v>14-Dec</c:v>
                </c:pt>
                <c:pt idx="84">
                  <c:v>2015</c:v>
                </c:pt>
                <c:pt idx="85">
                  <c:v>15-Feb</c:v>
                </c:pt>
                <c:pt idx="86">
                  <c:v>15-Mar</c:v>
                </c:pt>
                <c:pt idx="87">
                  <c:v>15-Apr</c:v>
                </c:pt>
                <c:pt idx="88">
                  <c:v>15-May</c:v>
                </c:pt>
                <c:pt idx="89">
                  <c:v>15-Jun</c:v>
                </c:pt>
                <c:pt idx="90">
                  <c:v>15-Jul</c:v>
                </c:pt>
                <c:pt idx="91">
                  <c:v>15-Aug</c:v>
                </c:pt>
                <c:pt idx="92">
                  <c:v>15-Sep</c:v>
                </c:pt>
                <c:pt idx="93">
                  <c:v>15-Oct</c:v>
                </c:pt>
                <c:pt idx="94">
                  <c:v>15-Nov</c:v>
                </c:pt>
                <c:pt idx="95">
                  <c:v>15-Dec</c:v>
                </c:pt>
                <c:pt idx="96">
                  <c:v>2016</c:v>
                </c:pt>
                <c:pt idx="97">
                  <c:v>16-Feb</c:v>
                </c:pt>
                <c:pt idx="98">
                  <c:v>16-Mar</c:v>
                </c:pt>
                <c:pt idx="99">
                  <c:v>16-Apr</c:v>
                </c:pt>
                <c:pt idx="100">
                  <c:v>16-May</c:v>
                </c:pt>
                <c:pt idx="101">
                  <c:v>16-Jun</c:v>
                </c:pt>
                <c:pt idx="102">
                  <c:v>16-Jul</c:v>
                </c:pt>
                <c:pt idx="103">
                  <c:v>16-Aug</c:v>
                </c:pt>
                <c:pt idx="104">
                  <c:v>16-Sep</c:v>
                </c:pt>
                <c:pt idx="105">
                  <c:v>16-Oct</c:v>
                </c:pt>
                <c:pt idx="106">
                  <c:v>16-Nov</c:v>
                </c:pt>
                <c:pt idx="107">
                  <c:v>16-Dec</c:v>
                </c:pt>
                <c:pt idx="108">
                  <c:v>2017</c:v>
                </c:pt>
                <c:pt idx="109">
                  <c:v>17-Feb</c:v>
                </c:pt>
                <c:pt idx="110">
                  <c:v>17-Mar</c:v>
                </c:pt>
                <c:pt idx="111">
                  <c:v>17-Apr</c:v>
                </c:pt>
                <c:pt idx="112">
                  <c:v>17-May</c:v>
                </c:pt>
                <c:pt idx="113">
                  <c:v>17-Jun</c:v>
                </c:pt>
                <c:pt idx="114">
                  <c:v>17-Jul</c:v>
                </c:pt>
                <c:pt idx="115">
                  <c:v>17-Aug</c:v>
                </c:pt>
                <c:pt idx="116">
                  <c:v>17-Sep</c:v>
                </c:pt>
                <c:pt idx="117">
                  <c:v>17-Oct</c:v>
                </c:pt>
                <c:pt idx="118">
                  <c:v>17-Nov</c:v>
                </c:pt>
                <c:pt idx="119">
                  <c:v>17-Dec</c:v>
                </c:pt>
                <c:pt idx="120">
                  <c:v>2018</c:v>
                </c:pt>
                <c:pt idx="121">
                  <c:v>18-Feb</c:v>
                </c:pt>
                <c:pt idx="122">
                  <c:v>18-Mar</c:v>
                </c:pt>
                <c:pt idx="123">
                  <c:v>18-Apr</c:v>
                </c:pt>
                <c:pt idx="124">
                  <c:v>18-May</c:v>
                </c:pt>
                <c:pt idx="125">
                  <c:v>18-Jun</c:v>
                </c:pt>
                <c:pt idx="126">
                  <c:v>18-Jul</c:v>
                </c:pt>
                <c:pt idx="127">
                  <c:v>18-Aug</c:v>
                </c:pt>
                <c:pt idx="128">
                  <c:v>18-Sep</c:v>
                </c:pt>
                <c:pt idx="129">
                  <c:v>18-Oct</c:v>
                </c:pt>
                <c:pt idx="130">
                  <c:v>18-Nov</c:v>
                </c:pt>
                <c:pt idx="131">
                  <c:v>18-Dec</c:v>
                </c:pt>
                <c:pt idx="132">
                  <c:v>2019</c:v>
                </c:pt>
                <c:pt idx="133">
                  <c:v>19-Feb</c:v>
                </c:pt>
                <c:pt idx="134">
                  <c:v>19-Mar</c:v>
                </c:pt>
                <c:pt idx="135">
                  <c:v>19-Apr</c:v>
                </c:pt>
                <c:pt idx="136">
                  <c:v>19-May</c:v>
                </c:pt>
                <c:pt idx="137">
                  <c:v>19-Jun</c:v>
                </c:pt>
                <c:pt idx="138">
                  <c:v>19-Jul</c:v>
                </c:pt>
                <c:pt idx="139">
                  <c:v>19-Aug</c:v>
                </c:pt>
                <c:pt idx="140">
                  <c:v>19-Sep</c:v>
                </c:pt>
                <c:pt idx="141">
                  <c:v>19-Oct</c:v>
                </c:pt>
                <c:pt idx="142">
                  <c:v>19-Nov</c:v>
                </c:pt>
                <c:pt idx="143">
                  <c:v>19-Dec</c:v>
                </c:pt>
                <c:pt idx="144">
                  <c:v>2020</c:v>
                </c:pt>
                <c:pt idx="145">
                  <c:v>20-Feb</c:v>
                </c:pt>
                <c:pt idx="146">
                  <c:v>20-Mar</c:v>
                </c:pt>
                <c:pt idx="147">
                  <c:v>20-Apr</c:v>
                </c:pt>
                <c:pt idx="148">
                  <c:v>20-May</c:v>
                </c:pt>
                <c:pt idx="149">
                  <c:v>20-Jun</c:v>
                </c:pt>
                <c:pt idx="150">
                  <c:v>20-Jul</c:v>
                </c:pt>
                <c:pt idx="151">
                  <c:v>20-Aug</c:v>
                </c:pt>
                <c:pt idx="152">
                  <c:v>20-Sep</c:v>
                </c:pt>
                <c:pt idx="153">
                  <c:v>20-Oct</c:v>
                </c:pt>
                <c:pt idx="154">
                  <c:v>20-Nov</c:v>
                </c:pt>
                <c:pt idx="155">
                  <c:v>20-Dec</c:v>
                </c:pt>
                <c:pt idx="156">
                  <c:v>2021</c:v>
                </c:pt>
                <c:pt idx="157">
                  <c:v>21-Feb</c:v>
                </c:pt>
                <c:pt idx="158">
                  <c:v>21-Mar</c:v>
                </c:pt>
                <c:pt idx="159">
                  <c:v>21-Apr</c:v>
                </c:pt>
                <c:pt idx="160">
                  <c:v>21-May</c:v>
                </c:pt>
                <c:pt idx="161">
                  <c:v>21-Jun</c:v>
                </c:pt>
                <c:pt idx="162">
                  <c:v>21-Jul</c:v>
                </c:pt>
                <c:pt idx="163">
                  <c:v>21-Aug</c:v>
                </c:pt>
                <c:pt idx="164">
                  <c:v>21-Sep</c:v>
                </c:pt>
                <c:pt idx="165">
                  <c:v>21-Oct</c:v>
                </c:pt>
                <c:pt idx="166">
                  <c:v>21-Nov</c:v>
                </c:pt>
                <c:pt idx="167">
                  <c:v>21-Dec</c:v>
                </c:pt>
                <c:pt idx="168">
                  <c:v>2022</c:v>
                </c:pt>
                <c:pt idx="169">
                  <c:v>22-Feb</c:v>
                </c:pt>
                <c:pt idx="170">
                  <c:v>22-Mar</c:v>
                </c:pt>
                <c:pt idx="171">
                  <c:v>22-Apr</c:v>
                </c:pt>
                <c:pt idx="172">
                  <c:v>22-May</c:v>
                </c:pt>
                <c:pt idx="173">
                  <c:v>22-Jun</c:v>
                </c:pt>
                <c:pt idx="174">
                  <c:v>22-Jul</c:v>
                </c:pt>
                <c:pt idx="175">
                  <c:v>22-Aug</c:v>
                </c:pt>
                <c:pt idx="176">
                  <c:v>22-Sep</c:v>
                </c:pt>
                <c:pt idx="177">
                  <c:v>22-Oct</c:v>
                </c:pt>
                <c:pt idx="178">
                  <c:v>22-Nov</c:v>
                </c:pt>
                <c:pt idx="179">
                  <c:v>22-Dec</c:v>
                </c:pt>
                <c:pt idx="180">
                  <c:v>2023</c:v>
                </c:pt>
                <c:pt idx="181">
                  <c:v>23-Feb</c:v>
                </c:pt>
                <c:pt idx="182">
                  <c:v>23-Mar</c:v>
                </c:pt>
                <c:pt idx="183">
                  <c:v>23-Apr</c:v>
                </c:pt>
                <c:pt idx="184">
                  <c:v>23-May</c:v>
                </c:pt>
                <c:pt idx="185">
                  <c:v>23-Jun</c:v>
                </c:pt>
                <c:pt idx="186">
                  <c:v>23-Jul</c:v>
                </c:pt>
              </c:strCache>
            </c:strRef>
          </c:cat>
          <c:val>
            <c:numRef>
              <c:f>'PPI-Trailers'!$C$2:$C$189</c:f>
              <c:numCache>
                <c:formatCode>0.0%</c:formatCode>
                <c:ptCount val="188"/>
                <c:pt idx="0">
                  <c:v>2.1633315305570579E-2</c:v>
                </c:pt>
                <c:pt idx="1">
                  <c:v>2.5488069414316642E-2</c:v>
                </c:pt>
                <c:pt idx="2">
                  <c:v>2.9713668287412211E-2</c:v>
                </c:pt>
                <c:pt idx="3">
                  <c:v>3.1317494600432032E-2</c:v>
                </c:pt>
                <c:pt idx="4">
                  <c:v>4.0000000000000029E-2</c:v>
                </c:pt>
                <c:pt idx="5">
                  <c:v>4.2780748663101602E-2</c:v>
                </c:pt>
                <c:pt idx="6">
                  <c:v>4.6908315565032048E-2</c:v>
                </c:pt>
                <c:pt idx="7">
                  <c:v>4.5744680851063799E-2</c:v>
                </c:pt>
                <c:pt idx="8">
                  <c:v>4.9973418394471059E-2</c:v>
                </c:pt>
                <c:pt idx="9">
                  <c:v>5.7385759829968186E-2</c:v>
                </c:pt>
                <c:pt idx="10">
                  <c:v>4.7290116896918206E-2</c:v>
                </c:pt>
                <c:pt idx="11">
                  <c:v>3.8767923526287745E-2</c:v>
                </c:pt>
                <c:pt idx="12">
                  <c:v>2.8057173107464174E-2</c:v>
                </c:pt>
                <c:pt idx="13">
                  <c:v>2.1152829190904283E-2</c:v>
                </c:pt>
                <c:pt idx="14">
                  <c:v>1.5739769150052468E-2</c:v>
                </c:pt>
                <c:pt idx="15">
                  <c:v>1.1518324607329784E-2</c:v>
                </c:pt>
                <c:pt idx="16">
                  <c:v>4.1580041580040689E-3</c:v>
                </c:pt>
                <c:pt idx="17">
                  <c:v>-3.0769230769230479E-3</c:v>
                </c:pt>
                <c:pt idx="18">
                  <c:v>-1.4765784114052981E-2</c:v>
                </c:pt>
                <c:pt idx="19">
                  <c:v>-6.6124109867750913E-3</c:v>
                </c:pt>
                <c:pt idx="20">
                  <c:v>-1.1139240506329057E-2</c:v>
                </c:pt>
                <c:pt idx="21">
                  <c:v>-1.909547738693473E-2</c:v>
                </c:pt>
                <c:pt idx="22">
                  <c:v>-1.0654490106544873E-2</c:v>
                </c:pt>
                <c:pt idx="23">
                  <c:v>-2.044989775051154E-3</c:v>
                </c:pt>
                <c:pt idx="24">
                  <c:v>1.7507723995880565E-2</c:v>
                </c:pt>
                <c:pt idx="25">
                  <c:v>2.4339720352149236E-2</c:v>
                </c:pt>
                <c:pt idx="26">
                  <c:v>2.6342975206611541E-2</c:v>
                </c:pt>
                <c:pt idx="27">
                  <c:v>3.2608695652173975E-2</c:v>
                </c:pt>
                <c:pt idx="28">
                  <c:v>3.3643892339544512E-2</c:v>
                </c:pt>
                <c:pt idx="29">
                  <c:v>2.6748971193415579E-2</c:v>
                </c:pt>
                <c:pt idx="30">
                  <c:v>2.9974160206718406E-2</c:v>
                </c:pt>
                <c:pt idx="31">
                  <c:v>2.0481310803891449E-2</c:v>
                </c:pt>
                <c:pt idx="32">
                  <c:v>2.1505376344085961E-2</c:v>
                </c:pt>
                <c:pt idx="33">
                  <c:v>3.0225409836065604E-2</c:v>
                </c:pt>
                <c:pt idx="34">
                  <c:v>2.7179487179487236E-2</c:v>
                </c:pt>
                <c:pt idx="35">
                  <c:v>3.1250000000000118E-2</c:v>
                </c:pt>
                <c:pt idx="36">
                  <c:v>4.3522267206477706E-2</c:v>
                </c:pt>
                <c:pt idx="37">
                  <c:v>4.4994944388270862E-2</c:v>
                </c:pt>
                <c:pt idx="38">
                  <c:v>4.9320583794665383E-2</c:v>
                </c:pt>
                <c:pt idx="39">
                  <c:v>4.5614035087719267E-2</c:v>
                </c:pt>
                <c:pt idx="40">
                  <c:v>5.007511266900351E-2</c:v>
                </c:pt>
                <c:pt idx="41">
                  <c:v>6.2124248496994015E-2</c:v>
                </c:pt>
                <c:pt idx="42">
                  <c:v>5.2684395383843452E-2</c:v>
                </c:pt>
                <c:pt idx="43">
                  <c:v>5.2684395383843452E-2</c:v>
                </c:pt>
                <c:pt idx="44">
                  <c:v>5.9147869674185519E-2</c:v>
                </c:pt>
                <c:pt idx="45">
                  <c:v>5.2710094480358002E-2</c:v>
                </c:pt>
                <c:pt idx="46">
                  <c:v>5.2421367948077884E-2</c:v>
                </c:pt>
                <c:pt idx="47">
                  <c:v>4.7193243914555386E-2</c:v>
                </c:pt>
                <c:pt idx="48">
                  <c:v>3.8312318137730388E-2</c:v>
                </c:pt>
                <c:pt idx="49">
                  <c:v>4.4025157232704518E-2</c:v>
                </c:pt>
                <c:pt idx="50">
                  <c:v>3.9808153477218278E-2</c:v>
                </c:pt>
                <c:pt idx="51">
                  <c:v>4.4582933844678867E-2</c:v>
                </c:pt>
                <c:pt idx="52">
                  <c:v>4.0057224606580857E-2</c:v>
                </c:pt>
                <c:pt idx="53">
                  <c:v>2.7830188679245312E-2</c:v>
                </c:pt>
                <c:pt idx="54">
                  <c:v>3.4318398474737791E-2</c:v>
                </c:pt>
                <c:pt idx="55">
                  <c:v>2.5262154432793053E-2</c:v>
                </c:pt>
                <c:pt idx="56">
                  <c:v>1.7983909133932715E-2</c:v>
                </c:pt>
                <c:pt idx="57">
                  <c:v>1.5588096362777569E-2</c:v>
                </c:pt>
                <c:pt idx="58">
                  <c:v>1.75521821631878E-2</c:v>
                </c:pt>
                <c:pt idx="59">
                  <c:v>1.75521821631878E-2</c:v>
                </c:pt>
                <c:pt idx="60">
                  <c:v>9.3414292386743134E-4</c:v>
                </c:pt>
                <c:pt idx="61">
                  <c:v>-6.9508804448563484E-3</c:v>
                </c:pt>
                <c:pt idx="62">
                  <c:v>-1.0608856088560938E-2</c:v>
                </c:pt>
                <c:pt idx="63">
                  <c:v>-1.4685635612666439E-2</c:v>
                </c:pt>
                <c:pt idx="64">
                  <c:v>-1.5589179275561695E-2</c:v>
                </c:pt>
                <c:pt idx="65">
                  <c:v>-1.4685635612666439E-2</c:v>
                </c:pt>
                <c:pt idx="66">
                  <c:v>-1.0138248847926214E-2</c:v>
                </c:pt>
                <c:pt idx="67">
                  <c:v>0</c:v>
                </c:pt>
                <c:pt idx="68">
                  <c:v>0</c:v>
                </c:pt>
                <c:pt idx="69">
                  <c:v>0</c:v>
                </c:pt>
                <c:pt idx="70">
                  <c:v>1.8648018648018913E-3</c:v>
                </c:pt>
                <c:pt idx="71">
                  <c:v>1.8648018648018913E-3</c:v>
                </c:pt>
                <c:pt idx="72">
                  <c:v>3.7330844610358512E-3</c:v>
                </c:pt>
                <c:pt idx="73">
                  <c:v>3.7330844610358512E-3</c:v>
                </c:pt>
                <c:pt idx="74">
                  <c:v>4.662004662004662E-3</c:v>
                </c:pt>
                <c:pt idx="75">
                  <c:v>4.1918956683745026E-3</c:v>
                </c:pt>
                <c:pt idx="76">
                  <c:v>5.123428039124466E-3</c:v>
                </c:pt>
                <c:pt idx="77">
                  <c:v>1.2575687005123508E-2</c:v>
                </c:pt>
                <c:pt idx="78">
                  <c:v>1.0707635009310906E-2</c:v>
                </c:pt>
                <c:pt idx="79">
                  <c:v>9.2980009298000935E-3</c:v>
                </c:pt>
                <c:pt idx="80">
                  <c:v>9.7629009762900711E-3</c:v>
                </c:pt>
                <c:pt idx="81">
                  <c:v>1.3953488372093023E-2</c:v>
                </c:pt>
                <c:pt idx="82">
                  <c:v>1.3959981386691484E-2</c:v>
                </c:pt>
                <c:pt idx="83">
                  <c:v>1.5355979525360552E-2</c:v>
                </c:pt>
                <c:pt idx="84">
                  <c:v>1.6736401673640142E-2</c:v>
                </c:pt>
                <c:pt idx="85">
                  <c:v>1.7201301720130253E-2</c:v>
                </c:pt>
                <c:pt idx="86">
                  <c:v>1.995359628770307E-2</c:v>
                </c:pt>
                <c:pt idx="87">
                  <c:v>2.319109461966605E-2</c:v>
                </c:pt>
                <c:pt idx="88">
                  <c:v>2.5949953660797005E-2</c:v>
                </c:pt>
                <c:pt idx="89">
                  <c:v>1.8399264029438821E-2</c:v>
                </c:pt>
                <c:pt idx="90">
                  <c:v>2.4412713035467579E-2</c:v>
                </c:pt>
                <c:pt idx="91">
                  <c:v>2.3491478581298915E-2</c:v>
                </c:pt>
                <c:pt idx="92">
                  <c:v>2.3020257826887661E-2</c:v>
                </c:pt>
                <c:pt idx="93">
                  <c:v>1.9724770642201888E-2</c:v>
                </c:pt>
                <c:pt idx="94">
                  <c:v>2.0192748967416272E-2</c:v>
                </c:pt>
                <c:pt idx="95">
                  <c:v>1.879010082493136E-2</c:v>
                </c:pt>
                <c:pt idx="96">
                  <c:v>2.0576131687242798E-2</c:v>
                </c:pt>
                <c:pt idx="97">
                  <c:v>2.0109689213893861E-2</c:v>
                </c:pt>
                <c:pt idx="98">
                  <c:v>1.5468607825295619E-2</c:v>
                </c:pt>
                <c:pt idx="99">
                  <c:v>1.3599274705349564E-3</c:v>
                </c:pt>
                <c:pt idx="100">
                  <c:v>-2.2583559168925021E-3</c:v>
                </c:pt>
                <c:pt idx="101">
                  <c:v>-2.2583559168925021E-3</c:v>
                </c:pt>
                <c:pt idx="102">
                  <c:v>-2.2482014388489208E-3</c:v>
                </c:pt>
                <c:pt idx="103">
                  <c:v>-1.3501350135012734E-3</c:v>
                </c:pt>
                <c:pt idx="104">
                  <c:v>-1.3501350135012734E-3</c:v>
                </c:pt>
                <c:pt idx="105">
                  <c:v>-4.0485829959514422E-3</c:v>
                </c:pt>
                <c:pt idx="106">
                  <c:v>-6.2977957714800076E-3</c:v>
                </c:pt>
                <c:pt idx="107">
                  <c:v>-6.2977957714800076E-3</c:v>
                </c:pt>
                <c:pt idx="108">
                  <c:v>-3.1362007168458275E-3</c:v>
                </c:pt>
                <c:pt idx="109">
                  <c:v>-3.1362007168458275E-3</c:v>
                </c:pt>
                <c:pt idx="110">
                  <c:v>8.9605734767032733E-4</c:v>
                </c:pt>
                <c:pt idx="111">
                  <c:v>7.2430964237211147E-3</c:v>
                </c:pt>
                <c:pt idx="112">
                  <c:v>6.3377093707560235E-3</c:v>
                </c:pt>
                <c:pt idx="113">
                  <c:v>6.3377093707560235E-3</c:v>
                </c:pt>
                <c:pt idx="114">
                  <c:v>6.309148264984253E-3</c:v>
                </c:pt>
                <c:pt idx="115">
                  <c:v>7.210455159981948E-3</c:v>
                </c:pt>
                <c:pt idx="116">
                  <c:v>7.210455159981948E-3</c:v>
                </c:pt>
                <c:pt idx="117">
                  <c:v>1.0388437217705434E-2</c:v>
                </c:pt>
                <c:pt idx="118">
                  <c:v>1.4938886373924775E-2</c:v>
                </c:pt>
                <c:pt idx="119">
                  <c:v>1.4486192847442229E-2</c:v>
                </c:pt>
                <c:pt idx="120">
                  <c:v>1.9325842696629264E-2</c:v>
                </c:pt>
                <c:pt idx="121">
                  <c:v>2.6067415730337131E-2</c:v>
                </c:pt>
                <c:pt idx="122">
                  <c:v>3.1781557743957002E-2</c:v>
                </c:pt>
                <c:pt idx="123">
                  <c:v>3.8651685393258403E-2</c:v>
                </c:pt>
                <c:pt idx="124">
                  <c:v>3.9586144849302667E-2</c:v>
                </c:pt>
                <c:pt idx="125">
                  <c:v>4.1835357624831232E-2</c:v>
                </c:pt>
                <c:pt idx="126">
                  <c:v>5.418719211822657E-2</c:v>
                </c:pt>
                <c:pt idx="127">
                  <c:v>5.4138702460850084E-2</c:v>
                </c:pt>
                <c:pt idx="128">
                  <c:v>5.8612975391498859E-2</c:v>
                </c:pt>
                <c:pt idx="129">
                  <c:v>7.1971390254805645E-2</c:v>
                </c:pt>
                <c:pt idx="130">
                  <c:v>7.4041034790365848E-2</c:v>
                </c:pt>
                <c:pt idx="131">
                  <c:v>7.4966532797858157E-2</c:v>
                </c:pt>
                <c:pt idx="132">
                  <c:v>7.0546737213403876E-2</c:v>
                </c:pt>
                <c:pt idx="133">
                  <c:v>6.351292159439334E-2</c:v>
                </c:pt>
                <c:pt idx="134">
                  <c:v>5.3362255965292892E-2</c:v>
                </c:pt>
                <c:pt idx="135">
                  <c:v>5.7550843790566908E-2</c:v>
                </c:pt>
                <c:pt idx="136">
                  <c:v>5.928169623539601E-2</c:v>
                </c:pt>
                <c:pt idx="137">
                  <c:v>5.6994818652849819E-2</c:v>
                </c:pt>
                <c:pt idx="138">
                  <c:v>5.4800339847068842E-2</c:v>
                </c:pt>
                <c:pt idx="139">
                  <c:v>5.3904923599320954E-2</c:v>
                </c:pt>
                <c:pt idx="140">
                  <c:v>4.9450549450549525E-2</c:v>
                </c:pt>
                <c:pt idx="141">
                  <c:v>3.5446205170975811E-2</c:v>
                </c:pt>
                <c:pt idx="142">
                  <c:v>3.1146179401993355E-2</c:v>
                </c:pt>
                <c:pt idx="143">
                  <c:v>3.0718140307181428E-2</c:v>
                </c:pt>
                <c:pt idx="144">
                  <c:v>1.9357495881383809E-2</c:v>
                </c:pt>
                <c:pt idx="145">
                  <c:v>1.9357495881383809E-2</c:v>
                </c:pt>
                <c:pt idx="146">
                  <c:v>1.9357495881383809E-2</c:v>
                </c:pt>
                <c:pt idx="147">
                  <c:v>4.0916530278232409E-3</c:v>
                </c:pt>
                <c:pt idx="148">
                  <c:v>2.4509803921568393E-3</c:v>
                </c:pt>
                <c:pt idx="149">
                  <c:v>2.4509803921568393E-3</c:v>
                </c:pt>
                <c:pt idx="150">
                  <c:v>-1.8928715263793864E-2</c:v>
                </c:pt>
                <c:pt idx="151">
                  <c:v>-2.1747885622231195E-2</c:v>
                </c:pt>
                <c:pt idx="152">
                  <c:v>-6.4438179621426608E-3</c:v>
                </c:pt>
                <c:pt idx="153">
                  <c:v>-1.2082158679017775E-3</c:v>
                </c:pt>
                <c:pt idx="154">
                  <c:v>0</c:v>
                </c:pt>
                <c:pt idx="155">
                  <c:v>-2.4164317358035549E-3</c:v>
                </c:pt>
                <c:pt idx="156">
                  <c:v>7.2727272727273187E-3</c:v>
                </c:pt>
                <c:pt idx="157">
                  <c:v>8.4848484848484614E-3</c:v>
                </c:pt>
                <c:pt idx="158">
                  <c:v>8.8888888888888438E-3</c:v>
                </c:pt>
                <c:pt idx="159">
                  <c:v>5.5419722901385471E-2</c:v>
                </c:pt>
                <c:pt idx="160">
                  <c:v>5.664221678891608E-2</c:v>
                </c:pt>
                <c:pt idx="161">
                  <c:v>8.4759576202118922E-2</c:v>
                </c:pt>
                <c:pt idx="162">
                  <c:v>0.12162972085385874</c:v>
                </c:pt>
                <c:pt idx="163">
                  <c:v>0.13033758748456162</c:v>
                </c:pt>
                <c:pt idx="164">
                  <c:v>0.11488042156465346</c:v>
                </c:pt>
                <c:pt idx="165">
                  <c:v>0.22539919354838711</c:v>
                </c:pt>
                <c:pt idx="166">
                  <c:v>0.23152637937978252</c:v>
                </c:pt>
                <c:pt idx="167">
                  <c:v>0.25545417844166335</c:v>
                </c:pt>
                <c:pt idx="168">
                  <c:v>0.31421580425190532</c:v>
                </c:pt>
                <c:pt idx="169">
                  <c:v>0.39169471153846164</c:v>
                </c:pt>
                <c:pt idx="170">
                  <c:v>0.40159791750100121</c:v>
                </c:pt>
                <c:pt idx="171">
                  <c:v>0.37125868725868727</c:v>
                </c:pt>
                <c:pt idx="172">
                  <c:v>0.37563440030852285</c:v>
                </c:pt>
                <c:pt idx="173">
                  <c:v>0.34325694966190834</c:v>
                </c:pt>
                <c:pt idx="174">
                  <c:v>0.31768589717782519</c:v>
                </c:pt>
                <c:pt idx="175">
                  <c:v>0.31273423927097627</c:v>
                </c:pt>
                <c:pt idx="176">
                  <c:v>0.31242251155282313</c:v>
                </c:pt>
                <c:pt idx="177">
                  <c:v>0.18918127404170471</c:v>
                </c:pt>
                <c:pt idx="178">
                  <c:v>0.18110259395398107</c:v>
                </c:pt>
                <c:pt idx="179">
                  <c:v>0.16266207038485286</c:v>
                </c:pt>
                <c:pt idx="180">
                  <c:v>8.7542806912591364E-2</c:v>
                </c:pt>
                <c:pt idx="181">
                  <c:v>1.9262048496258923E-2</c:v>
                </c:pt>
                <c:pt idx="182">
                  <c:v>1.1580694841690494E-2</c:v>
                </c:pt>
                <c:pt idx="183">
                  <c:v>1.9174672538264401E-3</c:v>
                </c:pt>
                <c:pt idx="184">
                  <c:v>-4.0425901733099545E-3</c:v>
                </c:pt>
                <c:pt idx="185">
                  <c:v>-6.4657764105432759E-3</c:v>
                </c:pt>
                <c:pt idx="186">
                  <c:v>-2.18870649668083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670-418B-A60A-9045B7438D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265784815"/>
        <c:axId val="265775663"/>
      </c:barChart>
      <c:lineChart>
        <c:grouping val="standard"/>
        <c:varyColors val="0"/>
        <c:ser>
          <c:idx val="0"/>
          <c:order val="0"/>
          <c:tx>
            <c:strRef>
              <c:f>'PPI-Trailers'!$B$1</c:f>
              <c:strCache>
                <c:ptCount val="1"/>
                <c:pt idx="0">
                  <c:v> Index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PPI-TL'!$A$2:$A$174</c:f>
              <c:strCache>
                <c:ptCount val="173"/>
                <c:pt idx="0">
                  <c:v>2008</c:v>
                </c:pt>
                <c:pt idx="1">
                  <c:v>Feb-08</c:v>
                </c:pt>
                <c:pt idx="2">
                  <c:v>Mar-08</c:v>
                </c:pt>
                <c:pt idx="3">
                  <c:v>Apr-08</c:v>
                </c:pt>
                <c:pt idx="4">
                  <c:v>May-08</c:v>
                </c:pt>
                <c:pt idx="5">
                  <c:v>Jun-08</c:v>
                </c:pt>
                <c:pt idx="6">
                  <c:v>Jul-08</c:v>
                </c:pt>
                <c:pt idx="7">
                  <c:v>Aug-08</c:v>
                </c:pt>
                <c:pt idx="8">
                  <c:v>Sep-08</c:v>
                </c:pt>
                <c:pt idx="9">
                  <c:v>Oct-08</c:v>
                </c:pt>
                <c:pt idx="10">
                  <c:v>Nov-08</c:v>
                </c:pt>
                <c:pt idx="11">
                  <c:v>Dec-08</c:v>
                </c:pt>
                <c:pt idx="12">
                  <c:v>2009</c:v>
                </c:pt>
                <c:pt idx="13">
                  <c:v>Feb-09</c:v>
                </c:pt>
                <c:pt idx="14">
                  <c:v>Mar-09</c:v>
                </c:pt>
                <c:pt idx="15">
                  <c:v>Apr-09</c:v>
                </c:pt>
                <c:pt idx="16">
                  <c:v>May-09</c:v>
                </c:pt>
                <c:pt idx="17">
                  <c:v>Jun-09</c:v>
                </c:pt>
                <c:pt idx="18">
                  <c:v>Jul-09</c:v>
                </c:pt>
                <c:pt idx="19">
                  <c:v>Aug-09</c:v>
                </c:pt>
                <c:pt idx="20">
                  <c:v>Sep-09</c:v>
                </c:pt>
                <c:pt idx="21">
                  <c:v>Oct-09</c:v>
                </c:pt>
                <c:pt idx="22">
                  <c:v>Nov-09</c:v>
                </c:pt>
                <c:pt idx="23">
                  <c:v>Dec-09</c:v>
                </c:pt>
                <c:pt idx="24">
                  <c:v>2010</c:v>
                </c:pt>
                <c:pt idx="25">
                  <c:v>10-Feb</c:v>
                </c:pt>
                <c:pt idx="26">
                  <c:v>10-Mar</c:v>
                </c:pt>
                <c:pt idx="27">
                  <c:v>10-Apr</c:v>
                </c:pt>
                <c:pt idx="28">
                  <c:v>10-May</c:v>
                </c:pt>
                <c:pt idx="29">
                  <c:v>10-Jun</c:v>
                </c:pt>
                <c:pt idx="30">
                  <c:v>10-Jul</c:v>
                </c:pt>
                <c:pt idx="31">
                  <c:v>10-Aug</c:v>
                </c:pt>
                <c:pt idx="32">
                  <c:v>10-Sep</c:v>
                </c:pt>
                <c:pt idx="33">
                  <c:v>10-Oct</c:v>
                </c:pt>
                <c:pt idx="34">
                  <c:v>10-Nov</c:v>
                </c:pt>
                <c:pt idx="35">
                  <c:v>10-Dec</c:v>
                </c:pt>
                <c:pt idx="36">
                  <c:v>2011</c:v>
                </c:pt>
                <c:pt idx="37">
                  <c:v>11-Feb</c:v>
                </c:pt>
                <c:pt idx="38">
                  <c:v>11-Mar</c:v>
                </c:pt>
                <c:pt idx="39">
                  <c:v>11-Apr</c:v>
                </c:pt>
                <c:pt idx="40">
                  <c:v>11-May</c:v>
                </c:pt>
                <c:pt idx="41">
                  <c:v>11-Jun</c:v>
                </c:pt>
                <c:pt idx="42">
                  <c:v>11-Jul</c:v>
                </c:pt>
                <c:pt idx="43">
                  <c:v>11-Aug</c:v>
                </c:pt>
                <c:pt idx="44">
                  <c:v>11-Sep</c:v>
                </c:pt>
                <c:pt idx="45">
                  <c:v>11-Oct</c:v>
                </c:pt>
                <c:pt idx="46">
                  <c:v>11-Nov</c:v>
                </c:pt>
                <c:pt idx="47">
                  <c:v>11-Dec</c:v>
                </c:pt>
                <c:pt idx="48">
                  <c:v>2012</c:v>
                </c:pt>
                <c:pt idx="49">
                  <c:v>12-Feb</c:v>
                </c:pt>
                <c:pt idx="50">
                  <c:v>12-Mar</c:v>
                </c:pt>
                <c:pt idx="51">
                  <c:v>12-Apr</c:v>
                </c:pt>
                <c:pt idx="52">
                  <c:v>12-May</c:v>
                </c:pt>
                <c:pt idx="53">
                  <c:v>12-Jun</c:v>
                </c:pt>
                <c:pt idx="54">
                  <c:v>12-Jul</c:v>
                </c:pt>
                <c:pt idx="55">
                  <c:v>12-Aug</c:v>
                </c:pt>
                <c:pt idx="56">
                  <c:v>12-Sep</c:v>
                </c:pt>
                <c:pt idx="57">
                  <c:v>12-Oct</c:v>
                </c:pt>
                <c:pt idx="58">
                  <c:v>12-Nov</c:v>
                </c:pt>
                <c:pt idx="59">
                  <c:v>12-Dec</c:v>
                </c:pt>
                <c:pt idx="60">
                  <c:v>2013</c:v>
                </c:pt>
                <c:pt idx="61">
                  <c:v>13-Feb</c:v>
                </c:pt>
                <c:pt idx="62">
                  <c:v>13-Mar</c:v>
                </c:pt>
                <c:pt idx="63">
                  <c:v>13-Apr</c:v>
                </c:pt>
                <c:pt idx="64">
                  <c:v>13-May</c:v>
                </c:pt>
                <c:pt idx="65">
                  <c:v>13-Jun</c:v>
                </c:pt>
                <c:pt idx="66">
                  <c:v>13-Jul</c:v>
                </c:pt>
                <c:pt idx="67">
                  <c:v>13-Aug</c:v>
                </c:pt>
                <c:pt idx="68">
                  <c:v>13-Sep</c:v>
                </c:pt>
                <c:pt idx="69">
                  <c:v>13-Oct</c:v>
                </c:pt>
                <c:pt idx="70">
                  <c:v>13-Nov</c:v>
                </c:pt>
                <c:pt idx="71">
                  <c:v>13-Dec</c:v>
                </c:pt>
                <c:pt idx="72">
                  <c:v>2014</c:v>
                </c:pt>
                <c:pt idx="73">
                  <c:v>14-Feb</c:v>
                </c:pt>
                <c:pt idx="74">
                  <c:v>14-Mar</c:v>
                </c:pt>
                <c:pt idx="75">
                  <c:v>14-Apr</c:v>
                </c:pt>
                <c:pt idx="76">
                  <c:v>14-May</c:v>
                </c:pt>
                <c:pt idx="77">
                  <c:v>14-Jun</c:v>
                </c:pt>
                <c:pt idx="78">
                  <c:v>14-Jul</c:v>
                </c:pt>
                <c:pt idx="79">
                  <c:v>14-Aug</c:v>
                </c:pt>
                <c:pt idx="80">
                  <c:v>14-Sep</c:v>
                </c:pt>
                <c:pt idx="81">
                  <c:v>14-Oct</c:v>
                </c:pt>
                <c:pt idx="82">
                  <c:v>14-Nov</c:v>
                </c:pt>
                <c:pt idx="83">
                  <c:v>14-Dec</c:v>
                </c:pt>
                <c:pt idx="84">
                  <c:v>2015</c:v>
                </c:pt>
                <c:pt idx="85">
                  <c:v>15-Feb</c:v>
                </c:pt>
                <c:pt idx="86">
                  <c:v>15-Mar</c:v>
                </c:pt>
                <c:pt idx="87">
                  <c:v>15-Apr</c:v>
                </c:pt>
                <c:pt idx="88">
                  <c:v>15-May</c:v>
                </c:pt>
                <c:pt idx="89">
                  <c:v>15-Jun</c:v>
                </c:pt>
                <c:pt idx="90">
                  <c:v>15-Jul</c:v>
                </c:pt>
                <c:pt idx="91">
                  <c:v>15-Aug</c:v>
                </c:pt>
                <c:pt idx="92">
                  <c:v>15-Sep</c:v>
                </c:pt>
                <c:pt idx="93">
                  <c:v>15-Oct</c:v>
                </c:pt>
                <c:pt idx="94">
                  <c:v>15-Nov</c:v>
                </c:pt>
                <c:pt idx="95">
                  <c:v>15-Dec</c:v>
                </c:pt>
                <c:pt idx="96">
                  <c:v>2016</c:v>
                </c:pt>
                <c:pt idx="97">
                  <c:v>16-Feb</c:v>
                </c:pt>
                <c:pt idx="98">
                  <c:v>16-Mar</c:v>
                </c:pt>
                <c:pt idx="99">
                  <c:v>16-Apr</c:v>
                </c:pt>
                <c:pt idx="100">
                  <c:v>16-May</c:v>
                </c:pt>
                <c:pt idx="101">
                  <c:v>16-Jun</c:v>
                </c:pt>
                <c:pt idx="102">
                  <c:v>16-Jul</c:v>
                </c:pt>
                <c:pt idx="103">
                  <c:v>16-Aug</c:v>
                </c:pt>
                <c:pt idx="104">
                  <c:v>16-Sep</c:v>
                </c:pt>
                <c:pt idx="105">
                  <c:v>16-Oct</c:v>
                </c:pt>
                <c:pt idx="106">
                  <c:v>16-Nov</c:v>
                </c:pt>
                <c:pt idx="107">
                  <c:v>16-Dec</c:v>
                </c:pt>
                <c:pt idx="108">
                  <c:v>2017</c:v>
                </c:pt>
                <c:pt idx="109">
                  <c:v>17-Feb</c:v>
                </c:pt>
                <c:pt idx="110">
                  <c:v>17-Mar</c:v>
                </c:pt>
                <c:pt idx="111">
                  <c:v>17-Apr</c:v>
                </c:pt>
                <c:pt idx="112">
                  <c:v>17-May</c:v>
                </c:pt>
                <c:pt idx="113">
                  <c:v>17-Jun</c:v>
                </c:pt>
                <c:pt idx="114">
                  <c:v>17-Jul</c:v>
                </c:pt>
                <c:pt idx="115">
                  <c:v>17-Aug</c:v>
                </c:pt>
                <c:pt idx="116">
                  <c:v>17-Sep</c:v>
                </c:pt>
                <c:pt idx="117">
                  <c:v>17-Oct</c:v>
                </c:pt>
                <c:pt idx="118">
                  <c:v>17-Nov</c:v>
                </c:pt>
                <c:pt idx="119">
                  <c:v>17-Dec</c:v>
                </c:pt>
                <c:pt idx="120">
                  <c:v>2018</c:v>
                </c:pt>
                <c:pt idx="121">
                  <c:v>18-Feb</c:v>
                </c:pt>
                <c:pt idx="122">
                  <c:v>18-Mar</c:v>
                </c:pt>
                <c:pt idx="123">
                  <c:v>18-Apr</c:v>
                </c:pt>
                <c:pt idx="124">
                  <c:v>18-May</c:v>
                </c:pt>
                <c:pt idx="125">
                  <c:v>18-Jun</c:v>
                </c:pt>
                <c:pt idx="126">
                  <c:v>18-Jul</c:v>
                </c:pt>
                <c:pt idx="127">
                  <c:v>18-Aug</c:v>
                </c:pt>
                <c:pt idx="128">
                  <c:v>18-Sep</c:v>
                </c:pt>
                <c:pt idx="129">
                  <c:v>18-Oct</c:v>
                </c:pt>
                <c:pt idx="130">
                  <c:v>18-Nov</c:v>
                </c:pt>
                <c:pt idx="131">
                  <c:v>18-Dec</c:v>
                </c:pt>
                <c:pt idx="132">
                  <c:v>2019</c:v>
                </c:pt>
                <c:pt idx="133">
                  <c:v>19-Feb</c:v>
                </c:pt>
                <c:pt idx="134">
                  <c:v>19-Mar</c:v>
                </c:pt>
                <c:pt idx="135">
                  <c:v>19-Apr</c:v>
                </c:pt>
                <c:pt idx="136">
                  <c:v>19-May</c:v>
                </c:pt>
                <c:pt idx="137">
                  <c:v>19-Jun</c:v>
                </c:pt>
                <c:pt idx="138">
                  <c:v>19-Jul</c:v>
                </c:pt>
                <c:pt idx="139">
                  <c:v>19-Aug</c:v>
                </c:pt>
                <c:pt idx="140">
                  <c:v>19-Sep</c:v>
                </c:pt>
                <c:pt idx="141">
                  <c:v>19-Oct</c:v>
                </c:pt>
                <c:pt idx="142">
                  <c:v>19-Nov</c:v>
                </c:pt>
                <c:pt idx="143">
                  <c:v>19-Dec</c:v>
                </c:pt>
                <c:pt idx="144">
                  <c:v>2020</c:v>
                </c:pt>
                <c:pt idx="145">
                  <c:v>20-Feb</c:v>
                </c:pt>
                <c:pt idx="146">
                  <c:v>20-Mar</c:v>
                </c:pt>
                <c:pt idx="147">
                  <c:v>20-Apr</c:v>
                </c:pt>
                <c:pt idx="148">
                  <c:v>20-May</c:v>
                </c:pt>
                <c:pt idx="149">
                  <c:v>20-Jun</c:v>
                </c:pt>
                <c:pt idx="150">
                  <c:v>20-Jul</c:v>
                </c:pt>
                <c:pt idx="151">
                  <c:v>20-Aug</c:v>
                </c:pt>
                <c:pt idx="152">
                  <c:v>20-Sep</c:v>
                </c:pt>
                <c:pt idx="153">
                  <c:v>20-Oct</c:v>
                </c:pt>
                <c:pt idx="154">
                  <c:v>20-Nov</c:v>
                </c:pt>
                <c:pt idx="155">
                  <c:v>20-Dec</c:v>
                </c:pt>
                <c:pt idx="156">
                  <c:v>2021</c:v>
                </c:pt>
                <c:pt idx="157">
                  <c:v>21-Feb</c:v>
                </c:pt>
                <c:pt idx="158">
                  <c:v>21-Mar</c:v>
                </c:pt>
                <c:pt idx="159">
                  <c:v>21-Apr</c:v>
                </c:pt>
                <c:pt idx="160">
                  <c:v>21-May</c:v>
                </c:pt>
                <c:pt idx="161">
                  <c:v>21-Jun</c:v>
                </c:pt>
                <c:pt idx="162">
                  <c:v>21-Jul</c:v>
                </c:pt>
                <c:pt idx="163">
                  <c:v>21-Aug</c:v>
                </c:pt>
                <c:pt idx="164">
                  <c:v>21-Sep</c:v>
                </c:pt>
                <c:pt idx="165">
                  <c:v>21-Oct</c:v>
                </c:pt>
                <c:pt idx="166">
                  <c:v>21-Nov</c:v>
                </c:pt>
                <c:pt idx="167">
                  <c:v>21-Dec</c:v>
                </c:pt>
                <c:pt idx="168">
                  <c:v>2022</c:v>
                </c:pt>
                <c:pt idx="169">
                  <c:v>22-Feb</c:v>
                </c:pt>
                <c:pt idx="170">
                  <c:v>22-Mar</c:v>
                </c:pt>
                <c:pt idx="171">
                  <c:v>22-Apr</c:v>
                </c:pt>
                <c:pt idx="172">
                  <c:v>22-May</c:v>
                </c:pt>
              </c:strCache>
            </c:strRef>
          </c:cat>
          <c:val>
            <c:numRef>
              <c:f>'PPI-Trailers'!$B$2:$B$189</c:f>
              <c:numCache>
                <c:formatCode>General</c:formatCode>
                <c:ptCount val="188"/>
                <c:pt idx="0">
                  <c:v>188.9</c:v>
                </c:pt>
                <c:pt idx="1">
                  <c:v>189.1</c:v>
                </c:pt>
                <c:pt idx="2">
                  <c:v>190.6</c:v>
                </c:pt>
                <c:pt idx="3">
                  <c:v>191</c:v>
                </c:pt>
                <c:pt idx="4">
                  <c:v>192.4</c:v>
                </c:pt>
                <c:pt idx="5">
                  <c:v>195</c:v>
                </c:pt>
                <c:pt idx="6">
                  <c:v>196.4</c:v>
                </c:pt>
                <c:pt idx="7">
                  <c:v>196.6</c:v>
                </c:pt>
                <c:pt idx="8">
                  <c:v>197.5</c:v>
                </c:pt>
                <c:pt idx="9">
                  <c:v>199</c:v>
                </c:pt>
                <c:pt idx="10">
                  <c:v>197.1</c:v>
                </c:pt>
                <c:pt idx="11">
                  <c:v>195.6</c:v>
                </c:pt>
                <c:pt idx="12">
                  <c:v>194.2</c:v>
                </c:pt>
                <c:pt idx="13">
                  <c:v>193.1</c:v>
                </c:pt>
                <c:pt idx="14">
                  <c:v>193.6</c:v>
                </c:pt>
                <c:pt idx="15">
                  <c:v>193.2</c:v>
                </c:pt>
                <c:pt idx="16">
                  <c:v>193.2</c:v>
                </c:pt>
                <c:pt idx="17">
                  <c:v>194.4</c:v>
                </c:pt>
                <c:pt idx="18">
                  <c:v>193.5</c:v>
                </c:pt>
                <c:pt idx="19">
                  <c:v>195.3</c:v>
                </c:pt>
                <c:pt idx="20">
                  <c:v>195.3</c:v>
                </c:pt>
                <c:pt idx="21">
                  <c:v>195.2</c:v>
                </c:pt>
                <c:pt idx="22">
                  <c:v>195</c:v>
                </c:pt>
                <c:pt idx="23">
                  <c:v>195.2</c:v>
                </c:pt>
                <c:pt idx="24">
                  <c:v>197.6</c:v>
                </c:pt>
                <c:pt idx="25">
                  <c:v>197.8</c:v>
                </c:pt>
                <c:pt idx="26">
                  <c:v>198.7</c:v>
                </c:pt>
                <c:pt idx="27">
                  <c:v>199.5</c:v>
                </c:pt>
                <c:pt idx="28">
                  <c:v>199.7</c:v>
                </c:pt>
                <c:pt idx="29">
                  <c:v>199.6</c:v>
                </c:pt>
                <c:pt idx="30">
                  <c:v>199.3</c:v>
                </c:pt>
                <c:pt idx="31">
                  <c:v>199.3</c:v>
                </c:pt>
                <c:pt idx="32">
                  <c:v>199.5</c:v>
                </c:pt>
                <c:pt idx="33">
                  <c:v>201.1</c:v>
                </c:pt>
                <c:pt idx="34">
                  <c:v>200.3</c:v>
                </c:pt>
                <c:pt idx="35">
                  <c:v>201.3</c:v>
                </c:pt>
                <c:pt idx="36">
                  <c:v>206.2</c:v>
                </c:pt>
                <c:pt idx="37">
                  <c:v>206.7</c:v>
                </c:pt>
                <c:pt idx="38">
                  <c:v>208.5</c:v>
                </c:pt>
                <c:pt idx="39">
                  <c:v>208.6</c:v>
                </c:pt>
                <c:pt idx="40">
                  <c:v>209.7</c:v>
                </c:pt>
                <c:pt idx="41">
                  <c:v>212</c:v>
                </c:pt>
                <c:pt idx="42">
                  <c:v>209.8</c:v>
                </c:pt>
                <c:pt idx="43">
                  <c:v>209.8</c:v>
                </c:pt>
                <c:pt idx="44">
                  <c:v>211.3</c:v>
                </c:pt>
                <c:pt idx="45">
                  <c:v>211.7</c:v>
                </c:pt>
                <c:pt idx="46">
                  <c:v>210.8</c:v>
                </c:pt>
                <c:pt idx="47">
                  <c:v>210.8</c:v>
                </c:pt>
                <c:pt idx="48">
                  <c:v>214.1</c:v>
                </c:pt>
                <c:pt idx="49">
                  <c:v>215.8</c:v>
                </c:pt>
                <c:pt idx="50">
                  <c:v>216.8</c:v>
                </c:pt>
                <c:pt idx="51">
                  <c:v>217.9</c:v>
                </c:pt>
                <c:pt idx="52">
                  <c:v>218.1</c:v>
                </c:pt>
                <c:pt idx="53">
                  <c:v>217.9</c:v>
                </c:pt>
                <c:pt idx="54">
                  <c:v>217</c:v>
                </c:pt>
                <c:pt idx="55">
                  <c:v>215.1</c:v>
                </c:pt>
                <c:pt idx="56">
                  <c:v>215.1</c:v>
                </c:pt>
                <c:pt idx="57">
                  <c:v>215</c:v>
                </c:pt>
                <c:pt idx="58">
                  <c:v>214.5</c:v>
                </c:pt>
                <c:pt idx="59">
                  <c:v>214.5</c:v>
                </c:pt>
                <c:pt idx="60">
                  <c:v>214.3</c:v>
                </c:pt>
                <c:pt idx="61">
                  <c:v>214.3</c:v>
                </c:pt>
                <c:pt idx="62">
                  <c:v>214.5</c:v>
                </c:pt>
                <c:pt idx="63">
                  <c:v>214.7</c:v>
                </c:pt>
                <c:pt idx="64">
                  <c:v>214.7</c:v>
                </c:pt>
                <c:pt idx="65">
                  <c:v>214.7</c:v>
                </c:pt>
                <c:pt idx="66">
                  <c:v>214.8</c:v>
                </c:pt>
                <c:pt idx="67">
                  <c:v>215.1</c:v>
                </c:pt>
                <c:pt idx="68">
                  <c:v>215.1</c:v>
                </c:pt>
                <c:pt idx="69">
                  <c:v>215</c:v>
                </c:pt>
                <c:pt idx="70">
                  <c:v>214.9</c:v>
                </c:pt>
                <c:pt idx="71">
                  <c:v>214.9</c:v>
                </c:pt>
                <c:pt idx="72">
                  <c:v>215.1</c:v>
                </c:pt>
                <c:pt idx="73">
                  <c:v>215.1</c:v>
                </c:pt>
                <c:pt idx="74">
                  <c:v>215.5</c:v>
                </c:pt>
                <c:pt idx="75">
                  <c:v>215.6</c:v>
                </c:pt>
                <c:pt idx="76">
                  <c:v>215.8</c:v>
                </c:pt>
                <c:pt idx="77">
                  <c:v>217.4</c:v>
                </c:pt>
                <c:pt idx="78">
                  <c:v>217.1</c:v>
                </c:pt>
                <c:pt idx="79">
                  <c:v>217.1</c:v>
                </c:pt>
                <c:pt idx="80">
                  <c:v>217.2</c:v>
                </c:pt>
                <c:pt idx="81">
                  <c:v>218</c:v>
                </c:pt>
                <c:pt idx="82">
                  <c:v>217.9</c:v>
                </c:pt>
                <c:pt idx="83">
                  <c:v>218.2</c:v>
                </c:pt>
                <c:pt idx="84">
                  <c:v>218.7</c:v>
                </c:pt>
                <c:pt idx="85">
                  <c:v>218.8</c:v>
                </c:pt>
                <c:pt idx="86">
                  <c:v>219.8</c:v>
                </c:pt>
                <c:pt idx="87">
                  <c:v>220.6</c:v>
                </c:pt>
                <c:pt idx="88">
                  <c:v>221.4</c:v>
                </c:pt>
                <c:pt idx="89">
                  <c:v>221.4</c:v>
                </c:pt>
                <c:pt idx="90">
                  <c:v>222.4</c:v>
                </c:pt>
                <c:pt idx="91">
                  <c:v>222.2</c:v>
                </c:pt>
                <c:pt idx="92">
                  <c:v>222.2</c:v>
                </c:pt>
                <c:pt idx="93">
                  <c:v>222.3</c:v>
                </c:pt>
                <c:pt idx="94">
                  <c:v>222.3</c:v>
                </c:pt>
                <c:pt idx="95">
                  <c:v>222.3</c:v>
                </c:pt>
                <c:pt idx="96">
                  <c:v>223.2</c:v>
                </c:pt>
                <c:pt idx="97">
                  <c:v>223.2</c:v>
                </c:pt>
                <c:pt idx="98">
                  <c:v>223.2</c:v>
                </c:pt>
                <c:pt idx="99">
                  <c:v>220.9</c:v>
                </c:pt>
                <c:pt idx="100">
                  <c:v>220.9</c:v>
                </c:pt>
                <c:pt idx="101">
                  <c:v>220.9</c:v>
                </c:pt>
                <c:pt idx="102">
                  <c:v>221.9</c:v>
                </c:pt>
                <c:pt idx="103">
                  <c:v>221.9</c:v>
                </c:pt>
                <c:pt idx="104">
                  <c:v>221.9</c:v>
                </c:pt>
                <c:pt idx="105">
                  <c:v>221.4</c:v>
                </c:pt>
                <c:pt idx="106">
                  <c:v>220.9</c:v>
                </c:pt>
                <c:pt idx="107">
                  <c:v>220.9</c:v>
                </c:pt>
                <c:pt idx="108">
                  <c:v>222.5</c:v>
                </c:pt>
                <c:pt idx="109">
                  <c:v>222.5</c:v>
                </c:pt>
                <c:pt idx="110">
                  <c:v>223.4</c:v>
                </c:pt>
                <c:pt idx="111">
                  <c:v>222.5</c:v>
                </c:pt>
                <c:pt idx="112">
                  <c:v>222.3</c:v>
                </c:pt>
                <c:pt idx="113">
                  <c:v>222.3</c:v>
                </c:pt>
                <c:pt idx="114">
                  <c:v>223.3</c:v>
                </c:pt>
                <c:pt idx="115">
                  <c:v>223.5</c:v>
                </c:pt>
                <c:pt idx="116">
                  <c:v>223.5</c:v>
                </c:pt>
                <c:pt idx="117">
                  <c:v>223.7</c:v>
                </c:pt>
                <c:pt idx="118">
                  <c:v>224.2</c:v>
                </c:pt>
                <c:pt idx="119">
                  <c:v>224.1</c:v>
                </c:pt>
                <c:pt idx="120">
                  <c:v>226.8</c:v>
                </c:pt>
                <c:pt idx="121">
                  <c:v>228.3</c:v>
                </c:pt>
                <c:pt idx="122">
                  <c:v>230.5</c:v>
                </c:pt>
                <c:pt idx="123">
                  <c:v>231.1</c:v>
                </c:pt>
                <c:pt idx="124">
                  <c:v>231.1</c:v>
                </c:pt>
                <c:pt idx="125">
                  <c:v>231.6</c:v>
                </c:pt>
                <c:pt idx="126">
                  <c:v>235.4</c:v>
                </c:pt>
                <c:pt idx="127">
                  <c:v>235.6</c:v>
                </c:pt>
                <c:pt idx="128">
                  <c:v>236.6</c:v>
                </c:pt>
                <c:pt idx="129">
                  <c:v>239.8</c:v>
                </c:pt>
                <c:pt idx="130">
                  <c:v>240.8</c:v>
                </c:pt>
                <c:pt idx="131">
                  <c:v>240.9</c:v>
                </c:pt>
                <c:pt idx="132">
                  <c:v>242.8</c:v>
                </c:pt>
                <c:pt idx="133">
                  <c:v>242.8</c:v>
                </c:pt>
                <c:pt idx="134">
                  <c:v>242.8</c:v>
                </c:pt>
                <c:pt idx="135">
                  <c:v>244.4</c:v>
                </c:pt>
                <c:pt idx="136">
                  <c:v>244.8</c:v>
                </c:pt>
                <c:pt idx="137">
                  <c:v>244.8</c:v>
                </c:pt>
                <c:pt idx="138">
                  <c:v>248.3</c:v>
                </c:pt>
                <c:pt idx="139">
                  <c:v>248.3</c:v>
                </c:pt>
                <c:pt idx="140">
                  <c:v>248.3</c:v>
                </c:pt>
                <c:pt idx="141">
                  <c:v>248.3</c:v>
                </c:pt>
                <c:pt idx="142">
                  <c:v>248.3</c:v>
                </c:pt>
                <c:pt idx="143">
                  <c:v>248.3</c:v>
                </c:pt>
                <c:pt idx="144">
                  <c:v>247.5</c:v>
                </c:pt>
                <c:pt idx="145">
                  <c:v>247.5</c:v>
                </c:pt>
                <c:pt idx="146">
                  <c:v>247.5</c:v>
                </c:pt>
                <c:pt idx="147">
                  <c:v>245.4</c:v>
                </c:pt>
                <c:pt idx="148">
                  <c:v>245.4</c:v>
                </c:pt>
                <c:pt idx="149">
                  <c:v>245.4</c:v>
                </c:pt>
                <c:pt idx="150">
                  <c:v>243.6</c:v>
                </c:pt>
                <c:pt idx="151">
                  <c:v>242.9</c:v>
                </c:pt>
                <c:pt idx="152">
                  <c:v>246.7</c:v>
                </c:pt>
                <c:pt idx="153">
                  <c:v>248</c:v>
                </c:pt>
                <c:pt idx="154">
                  <c:v>248.3</c:v>
                </c:pt>
                <c:pt idx="155">
                  <c:v>247.7</c:v>
                </c:pt>
                <c:pt idx="156">
                  <c:v>249.3</c:v>
                </c:pt>
                <c:pt idx="157">
                  <c:v>249.6</c:v>
                </c:pt>
                <c:pt idx="158">
                  <c:v>249.7</c:v>
                </c:pt>
                <c:pt idx="159">
                  <c:v>259</c:v>
                </c:pt>
                <c:pt idx="160">
                  <c:v>259.3</c:v>
                </c:pt>
                <c:pt idx="161">
                  <c:v>266.2</c:v>
                </c:pt>
                <c:pt idx="162">
                  <c:v>273.22899999999998</c:v>
                </c:pt>
                <c:pt idx="163">
                  <c:v>274.55900000000003</c:v>
                </c:pt>
                <c:pt idx="164">
                  <c:v>275.041</c:v>
                </c:pt>
                <c:pt idx="165">
                  <c:v>303.899</c:v>
                </c:pt>
                <c:pt idx="166">
                  <c:v>305.78800000000001</c:v>
                </c:pt>
                <c:pt idx="167">
                  <c:v>310.976</c:v>
                </c:pt>
                <c:pt idx="168">
                  <c:v>327.63400000000001</c:v>
                </c:pt>
                <c:pt idx="169">
                  <c:v>347.36700000000002</c:v>
                </c:pt>
                <c:pt idx="170">
                  <c:v>349.97899999999998</c:v>
                </c:pt>
                <c:pt idx="171">
                  <c:v>355.15600000000001</c:v>
                </c:pt>
                <c:pt idx="172">
                  <c:v>356.702</c:v>
                </c:pt>
                <c:pt idx="173">
                  <c:v>357.57499999999999</c:v>
                </c:pt>
                <c:pt idx="174">
                  <c:v>360.03</c:v>
                </c:pt>
                <c:pt idx="175">
                  <c:v>360.423</c:v>
                </c:pt>
                <c:pt idx="176">
                  <c:v>360.97</c:v>
                </c:pt>
                <c:pt idx="177">
                  <c:v>361.39100000000002</c:v>
                </c:pt>
                <c:pt idx="178">
                  <c:v>361.16699999999997</c:v>
                </c:pt>
                <c:pt idx="179">
                  <c:v>361.56</c:v>
                </c:pt>
                <c:pt idx="180">
                  <c:v>356.31599999999997</c:v>
                </c:pt>
                <c:pt idx="181">
                  <c:v>354.05799999999999</c:v>
                </c:pt>
                <c:pt idx="182">
                  <c:v>354.03199999999998</c:v>
                </c:pt>
                <c:pt idx="183">
                  <c:v>355.83699999999999</c:v>
                </c:pt>
                <c:pt idx="184">
                  <c:v>355.26</c:v>
                </c:pt>
                <c:pt idx="185">
                  <c:v>355.26299999999998</c:v>
                </c:pt>
                <c:pt idx="186">
                  <c:v>352.1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670-418B-A60A-9045B7438D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ax val="380"/>
          <c:min val="18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majorUnit val="20"/>
      </c:valAx>
      <c:valAx>
        <c:axId val="265775663"/>
        <c:scaling>
          <c:orientation val="minMax"/>
          <c:min val="-5.000000000000001E-2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65784815"/>
        <c:crosses val="max"/>
        <c:crossBetween val="between"/>
      </c:valAx>
      <c:catAx>
        <c:axId val="265784815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265775663"/>
        <c:crosses val="autoZero"/>
        <c:auto val="1"/>
        <c:lblAlgn val="ctr"/>
        <c:lblOffset val="100"/>
        <c:noMultiLvlLbl val="0"/>
      </c:catAx>
      <c:spPr>
        <a:noFill/>
        <a:ln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6.047139487998783E-2"/>
          <c:y val="8.4704505686789208E-2"/>
          <c:w val="0.31705388989837807"/>
          <c:h val="6.4134733158355203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1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u="sng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Current dollars</a:t>
            </a:r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 Seasonally adjusted</a:t>
            </a:r>
          </a:p>
        </c:rich>
      </c:tx>
      <c:layout>
        <c:manualLayout>
          <c:xMode val="edge"/>
          <c:yMode val="edge"/>
          <c:x val="8.6116410929403059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6220051820445523E-2"/>
          <c:y val="7.9552342202577828E-2"/>
          <c:w val="0.88081785449895689"/>
          <c:h val="0.76849125109361327"/>
        </c:manualLayout>
      </c:layout>
      <c:lineChart>
        <c:grouping val="standard"/>
        <c:varyColors val="0"/>
        <c:ser>
          <c:idx val="0"/>
          <c:order val="0"/>
          <c:tx>
            <c:strRef>
              <c:f>NonstoreRetailVOther!$B$1</c:f>
              <c:strCache>
                <c:ptCount val="1"/>
                <c:pt idx="0">
                  <c:v> Non-store retail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NonstoreRetailVOther!$A$2:$A$188</c:f>
              <c:strCache>
                <c:ptCount val="186"/>
                <c:pt idx="0">
                  <c:v>2008</c:v>
                </c:pt>
                <c:pt idx="1">
                  <c:v>Feb-08</c:v>
                </c:pt>
                <c:pt idx="2">
                  <c:v>Mar-08</c:v>
                </c:pt>
                <c:pt idx="3">
                  <c:v>Apr-08</c:v>
                </c:pt>
                <c:pt idx="4">
                  <c:v>May-08</c:v>
                </c:pt>
                <c:pt idx="5">
                  <c:v>Jun-08</c:v>
                </c:pt>
                <c:pt idx="6">
                  <c:v>Jul-08</c:v>
                </c:pt>
                <c:pt idx="7">
                  <c:v>Aug-08</c:v>
                </c:pt>
                <c:pt idx="8">
                  <c:v>Sep-08</c:v>
                </c:pt>
                <c:pt idx="9">
                  <c:v>Oct-08</c:v>
                </c:pt>
                <c:pt idx="10">
                  <c:v>Nov-08</c:v>
                </c:pt>
                <c:pt idx="11">
                  <c:v>Dec-08</c:v>
                </c:pt>
                <c:pt idx="12">
                  <c:v>2009</c:v>
                </c:pt>
                <c:pt idx="13">
                  <c:v>Feb-09</c:v>
                </c:pt>
                <c:pt idx="14">
                  <c:v>Mar-09</c:v>
                </c:pt>
                <c:pt idx="15">
                  <c:v>Apr-09</c:v>
                </c:pt>
                <c:pt idx="16">
                  <c:v>May-09</c:v>
                </c:pt>
                <c:pt idx="17">
                  <c:v>Jun-09</c:v>
                </c:pt>
                <c:pt idx="18">
                  <c:v>Jul-09</c:v>
                </c:pt>
                <c:pt idx="19">
                  <c:v>Aug-09</c:v>
                </c:pt>
                <c:pt idx="20">
                  <c:v>Sep-09</c:v>
                </c:pt>
                <c:pt idx="21">
                  <c:v>Oct-09</c:v>
                </c:pt>
                <c:pt idx="22">
                  <c:v>Nov-09</c:v>
                </c:pt>
                <c:pt idx="23">
                  <c:v>Dec-09</c:v>
                </c:pt>
                <c:pt idx="24">
                  <c:v>2010</c:v>
                </c:pt>
                <c:pt idx="25">
                  <c:v>10-Feb</c:v>
                </c:pt>
                <c:pt idx="26">
                  <c:v>10-Mar</c:v>
                </c:pt>
                <c:pt idx="27">
                  <c:v>10-Apr</c:v>
                </c:pt>
                <c:pt idx="28">
                  <c:v>10-May</c:v>
                </c:pt>
                <c:pt idx="29">
                  <c:v>10-Jun</c:v>
                </c:pt>
                <c:pt idx="30">
                  <c:v>10-Jul</c:v>
                </c:pt>
                <c:pt idx="31">
                  <c:v>10-Aug</c:v>
                </c:pt>
                <c:pt idx="32">
                  <c:v>10-Sep</c:v>
                </c:pt>
                <c:pt idx="33">
                  <c:v>10-Oct</c:v>
                </c:pt>
                <c:pt idx="34">
                  <c:v>10-Nov</c:v>
                </c:pt>
                <c:pt idx="35">
                  <c:v>10-Dec</c:v>
                </c:pt>
                <c:pt idx="36">
                  <c:v>2011</c:v>
                </c:pt>
                <c:pt idx="37">
                  <c:v>11-Feb</c:v>
                </c:pt>
                <c:pt idx="38">
                  <c:v>11-Mar</c:v>
                </c:pt>
                <c:pt idx="39">
                  <c:v>11-Apr</c:v>
                </c:pt>
                <c:pt idx="40">
                  <c:v>11-May</c:v>
                </c:pt>
                <c:pt idx="41">
                  <c:v>11-Jun</c:v>
                </c:pt>
                <c:pt idx="42">
                  <c:v>11-Jul</c:v>
                </c:pt>
                <c:pt idx="43">
                  <c:v>11-Aug</c:v>
                </c:pt>
                <c:pt idx="44">
                  <c:v>11-Sep</c:v>
                </c:pt>
                <c:pt idx="45">
                  <c:v>11-Oct</c:v>
                </c:pt>
                <c:pt idx="46">
                  <c:v>11-Nov</c:v>
                </c:pt>
                <c:pt idx="47">
                  <c:v>11-Dec</c:v>
                </c:pt>
                <c:pt idx="48">
                  <c:v>2012</c:v>
                </c:pt>
                <c:pt idx="49">
                  <c:v>12-Feb</c:v>
                </c:pt>
                <c:pt idx="50">
                  <c:v>12-Mar</c:v>
                </c:pt>
                <c:pt idx="51">
                  <c:v>12-Apr</c:v>
                </c:pt>
                <c:pt idx="52">
                  <c:v>12-May</c:v>
                </c:pt>
                <c:pt idx="53">
                  <c:v>12-Jun</c:v>
                </c:pt>
                <c:pt idx="54">
                  <c:v>12-Jul</c:v>
                </c:pt>
                <c:pt idx="55">
                  <c:v>12-Aug</c:v>
                </c:pt>
                <c:pt idx="56">
                  <c:v>12-Sep</c:v>
                </c:pt>
                <c:pt idx="57">
                  <c:v>12-Oct</c:v>
                </c:pt>
                <c:pt idx="58">
                  <c:v>12-Nov</c:v>
                </c:pt>
                <c:pt idx="59">
                  <c:v>12-Dec</c:v>
                </c:pt>
                <c:pt idx="60">
                  <c:v>2013</c:v>
                </c:pt>
                <c:pt idx="61">
                  <c:v>13-Feb</c:v>
                </c:pt>
                <c:pt idx="62">
                  <c:v>13-Mar</c:v>
                </c:pt>
                <c:pt idx="63">
                  <c:v>13-Apr</c:v>
                </c:pt>
                <c:pt idx="64">
                  <c:v>13-May</c:v>
                </c:pt>
                <c:pt idx="65">
                  <c:v>13-Jun</c:v>
                </c:pt>
                <c:pt idx="66">
                  <c:v>13-Jul</c:v>
                </c:pt>
                <c:pt idx="67">
                  <c:v>13-Aug</c:v>
                </c:pt>
                <c:pt idx="68">
                  <c:v>13-Sep</c:v>
                </c:pt>
                <c:pt idx="69">
                  <c:v>13-Oct</c:v>
                </c:pt>
                <c:pt idx="70">
                  <c:v>13-Nov</c:v>
                </c:pt>
                <c:pt idx="71">
                  <c:v>13-Dec</c:v>
                </c:pt>
                <c:pt idx="72">
                  <c:v>2014</c:v>
                </c:pt>
                <c:pt idx="73">
                  <c:v>14-Feb</c:v>
                </c:pt>
                <c:pt idx="74">
                  <c:v>14-Mar</c:v>
                </c:pt>
                <c:pt idx="75">
                  <c:v>14-Apr</c:v>
                </c:pt>
                <c:pt idx="76">
                  <c:v>14-May</c:v>
                </c:pt>
                <c:pt idx="77">
                  <c:v>14-Jun</c:v>
                </c:pt>
                <c:pt idx="78">
                  <c:v>14-Jul</c:v>
                </c:pt>
                <c:pt idx="79">
                  <c:v>14-Aug</c:v>
                </c:pt>
                <c:pt idx="80">
                  <c:v>14-Sep</c:v>
                </c:pt>
                <c:pt idx="81">
                  <c:v>14-Oct</c:v>
                </c:pt>
                <c:pt idx="82">
                  <c:v>14-Nov</c:v>
                </c:pt>
                <c:pt idx="83">
                  <c:v>14-Dec</c:v>
                </c:pt>
                <c:pt idx="84">
                  <c:v>2015</c:v>
                </c:pt>
                <c:pt idx="85">
                  <c:v>15-Feb</c:v>
                </c:pt>
                <c:pt idx="86">
                  <c:v>15-Mar</c:v>
                </c:pt>
                <c:pt idx="87">
                  <c:v>15-Apr</c:v>
                </c:pt>
                <c:pt idx="88">
                  <c:v>15-May</c:v>
                </c:pt>
                <c:pt idx="89">
                  <c:v>15-Jun</c:v>
                </c:pt>
                <c:pt idx="90">
                  <c:v>15-Jul</c:v>
                </c:pt>
                <c:pt idx="91">
                  <c:v>15-Aug</c:v>
                </c:pt>
                <c:pt idx="92">
                  <c:v>15-Sep</c:v>
                </c:pt>
                <c:pt idx="93">
                  <c:v>15-Oct</c:v>
                </c:pt>
                <c:pt idx="94">
                  <c:v>15-Nov</c:v>
                </c:pt>
                <c:pt idx="95">
                  <c:v>15-Dec</c:v>
                </c:pt>
                <c:pt idx="96">
                  <c:v>2016</c:v>
                </c:pt>
                <c:pt idx="97">
                  <c:v>16-Feb</c:v>
                </c:pt>
                <c:pt idx="98">
                  <c:v>16-Mar</c:v>
                </c:pt>
                <c:pt idx="99">
                  <c:v>16-Apr</c:v>
                </c:pt>
                <c:pt idx="100">
                  <c:v>16-May</c:v>
                </c:pt>
                <c:pt idx="101">
                  <c:v>16-Jun</c:v>
                </c:pt>
                <c:pt idx="102">
                  <c:v>16-Jul</c:v>
                </c:pt>
                <c:pt idx="103">
                  <c:v>16-Aug</c:v>
                </c:pt>
                <c:pt idx="104">
                  <c:v>16-Sep</c:v>
                </c:pt>
                <c:pt idx="105">
                  <c:v>16-Oct</c:v>
                </c:pt>
                <c:pt idx="106">
                  <c:v>16-Nov</c:v>
                </c:pt>
                <c:pt idx="107">
                  <c:v>16-Dec</c:v>
                </c:pt>
                <c:pt idx="108">
                  <c:v>2017</c:v>
                </c:pt>
                <c:pt idx="109">
                  <c:v>17-Feb</c:v>
                </c:pt>
                <c:pt idx="110">
                  <c:v>17-Mar</c:v>
                </c:pt>
                <c:pt idx="111">
                  <c:v>17-Apr</c:v>
                </c:pt>
                <c:pt idx="112">
                  <c:v>17-May</c:v>
                </c:pt>
                <c:pt idx="113">
                  <c:v>17-Jun</c:v>
                </c:pt>
                <c:pt idx="114">
                  <c:v>17-Jul</c:v>
                </c:pt>
                <c:pt idx="115">
                  <c:v>17-Aug</c:v>
                </c:pt>
                <c:pt idx="116">
                  <c:v>17-Sep</c:v>
                </c:pt>
                <c:pt idx="117">
                  <c:v>17-Oct</c:v>
                </c:pt>
                <c:pt idx="118">
                  <c:v>17-Nov</c:v>
                </c:pt>
                <c:pt idx="119">
                  <c:v>17-Dec</c:v>
                </c:pt>
                <c:pt idx="120">
                  <c:v>2018</c:v>
                </c:pt>
                <c:pt idx="121">
                  <c:v>18-Feb</c:v>
                </c:pt>
                <c:pt idx="122">
                  <c:v>18-Mar</c:v>
                </c:pt>
                <c:pt idx="123">
                  <c:v>18-Apr</c:v>
                </c:pt>
                <c:pt idx="124">
                  <c:v>18-May</c:v>
                </c:pt>
                <c:pt idx="125">
                  <c:v>18-Jun</c:v>
                </c:pt>
                <c:pt idx="126">
                  <c:v>18-Jul</c:v>
                </c:pt>
                <c:pt idx="127">
                  <c:v>18-Aug</c:v>
                </c:pt>
                <c:pt idx="128">
                  <c:v>18-Sep</c:v>
                </c:pt>
                <c:pt idx="129">
                  <c:v>18-Oct</c:v>
                </c:pt>
                <c:pt idx="130">
                  <c:v>18-Nov</c:v>
                </c:pt>
                <c:pt idx="131">
                  <c:v>18-Dec</c:v>
                </c:pt>
                <c:pt idx="132">
                  <c:v>2019</c:v>
                </c:pt>
                <c:pt idx="133">
                  <c:v>19-Feb</c:v>
                </c:pt>
                <c:pt idx="134">
                  <c:v>19-Mar</c:v>
                </c:pt>
                <c:pt idx="135">
                  <c:v>19-Apr</c:v>
                </c:pt>
                <c:pt idx="136">
                  <c:v>19-May</c:v>
                </c:pt>
                <c:pt idx="137">
                  <c:v>19-Jun</c:v>
                </c:pt>
                <c:pt idx="138">
                  <c:v>19-Jul</c:v>
                </c:pt>
                <c:pt idx="139">
                  <c:v>19-Aug</c:v>
                </c:pt>
                <c:pt idx="140">
                  <c:v>19-Sep</c:v>
                </c:pt>
                <c:pt idx="141">
                  <c:v>19-Oct</c:v>
                </c:pt>
                <c:pt idx="142">
                  <c:v>19-Nov</c:v>
                </c:pt>
                <c:pt idx="143">
                  <c:v>19-Dec</c:v>
                </c:pt>
                <c:pt idx="144">
                  <c:v>2020</c:v>
                </c:pt>
                <c:pt idx="145">
                  <c:v>20-Feb</c:v>
                </c:pt>
                <c:pt idx="146">
                  <c:v>20-Mar</c:v>
                </c:pt>
                <c:pt idx="147">
                  <c:v>20-Apr</c:v>
                </c:pt>
                <c:pt idx="148">
                  <c:v>20-May</c:v>
                </c:pt>
                <c:pt idx="149">
                  <c:v>20-Jun</c:v>
                </c:pt>
                <c:pt idx="150">
                  <c:v>20-Jul</c:v>
                </c:pt>
                <c:pt idx="151">
                  <c:v>20-Aug</c:v>
                </c:pt>
                <c:pt idx="152">
                  <c:v>20-Sep</c:v>
                </c:pt>
                <c:pt idx="153">
                  <c:v>20-Oct</c:v>
                </c:pt>
                <c:pt idx="154">
                  <c:v>20-Nov</c:v>
                </c:pt>
                <c:pt idx="155">
                  <c:v>20-Dec</c:v>
                </c:pt>
                <c:pt idx="156">
                  <c:v>2021</c:v>
                </c:pt>
                <c:pt idx="157">
                  <c:v>21-Feb</c:v>
                </c:pt>
                <c:pt idx="158">
                  <c:v>21-Mar</c:v>
                </c:pt>
                <c:pt idx="159">
                  <c:v>21-Apr</c:v>
                </c:pt>
                <c:pt idx="160">
                  <c:v>21-May</c:v>
                </c:pt>
                <c:pt idx="161">
                  <c:v>21-Jun</c:v>
                </c:pt>
                <c:pt idx="162">
                  <c:v>21-Jul</c:v>
                </c:pt>
                <c:pt idx="163">
                  <c:v>21-Aug</c:v>
                </c:pt>
                <c:pt idx="164">
                  <c:v>21-Sep</c:v>
                </c:pt>
                <c:pt idx="165">
                  <c:v>21-Oct</c:v>
                </c:pt>
                <c:pt idx="166">
                  <c:v>21-Nov</c:v>
                </c:pt>
                <c:pt idx="167">
                  <c:v>21-Dec</c:v>
                </c:pt>
                <c:pt idx="168">
                  <c:v>2022</c:v>
                </c:pt>
                <c:pt idx="169">
                  <c:v>22-Feb</c:v>
                </c:pt>
                <c:pt idx="170">
                  <c:v>22-Mar</c:v>
                </c:pt>
                <c:pt idx="171">
                  <c:v>22-Apr</c:v>
                </c:pt>
                <c:pt idx="172">
                  <c:v>22-May</c:v>
                </c:pt>
                <c:pt idx="173">
                  <c:v>22-Jun</c:v>
                </c:pt>
                <c:pt idx="174">
                  <c:v>22-Jul</c:v>
                </c:pt>
                <c:pt idx="175">
                  <c:v>22-Aug</c:v>
                </c:pt>
                <c:pt idx="176">
                  <c:v>22-Sep</c:v>
                </c:pt>
                <c:pt idx="177">
                  <c:v>22-Oct</c:v>
                </c:pt>
                <c:pt idx="178">
                  <c:v>22-Nov</c:v>
                </c:pt>
                <c:pt idx="179">
                  <c:v>22-Dec</c:v>
                </c:pt>
                <c:pt idx="180">
                  <c:v>2023</c:v>
                </c:pt>
                <c:pt idx="181">
                  <c:v>23-Feb</c:v>
                </c:pt>
                <c:pt idx="182">
                  <c:v>23-Mar</c:v>
                </c:pt>
                <c:pt idx="183">
                  <c:v>23-Apr</c:v>
                </c:pt>
                <c:pt idx="184">
                  <c:v>23-May</c:v>
                </c:pt>
                <c:pt idx="185">
                  <c:v>23-Jun</c:v>
                </c:pt>
              </c:strCache>
            </c:strRef>
          </c:cat>
          <c:val>
            <c:numRef>
              <c:f>NonstoreRetailVOther!$B$2:$B$188</c:f>
              <c:numCache>
                <c:formatCode>#,##0</c:formatCode>
                <c:ptCount val="187"/>
                <c:pt idx="0">
                  <c:v>26019</c:v>
                </c:pt>
                <c:pt idx="1">
                  <c:v>26101</c:v>
                </c:pt>
                <c:pt idx="2">
                  <c:v>26530</c:v>
                </c:pt>
                <c:pt idx="3">
                  <c:v>27243</c:v>
                </c:pt>
                <c:pt idx="4">
                  <c:v>27526</c:v>
                </c:pt>
                <c:pt idx="5">
                  <c:v>27403</c:v>
                </c:pt>
                <c:pt idx="6">
                  <c:v>27823</c:v>
                </c:pt>
                <c:pt idx="7">
                  <c:v>27374</c:v>
                </c:pt>
                <c:pt idx="8">
                  <c:v>27258</c:v>
                </c:pt>
                <c:pt idx="9">
                  <c:v>26333</c:v>
                </c:pt>
                <c:pt idx="10">
                  <c:v>25149</c:v>
                </c:pt>
                <c:pt idx="11">
                  <c:v>24751</c:v>
                </c:pt>
                <c:pt idx="12">
                  <c:v>25049</c:v>
                </c:pt>
                <c:pt idx="13">
                  <c:v>25241</c:v>
                </c:pt>
                <c:pt idx="14">
                  <c:v>24941</c:v>
                </c:pt>
                <c:pt idx="15">
                  <c:v>24932</c:v>
                </c:pt>
                <c:pt idx="16">
                  <c:v>25159</c:v>
                </c:pt>
                <c:pt idx="17">
                  <c:v>25768</c:v>
                </c:pt>
                <c:pt idx="18">
                  <c:v>26110</c:v>
                </c:pt>
                <c:pt idx="19">
                  <c:v>26150</c:v>
                </c:pt>
                <c:pt idx="20">
                  <c:v>26339</c:v>
                </c:pt>
                <c:pt idx="21">
                  <c:v>26634</c:v>
                </c:pt>
                <c:pt idx="22">
                  <c:v>26666</c:v>
                </c:pt>
                <c:pt idx="23">
                  <c:v>26984</c:v>
                </c:pt>
                <c:pt idx="24">
                  <c:v>27200</c:v>
                </c:pt>
                <c:pt idx="25">
                  <c:v>27179</c:v>
                </c:pt>
                <c:pt idx="26">
                  <c:v>27785</c:v>
                </c:pt>
                <c:pt idx="27">
                  <c:v>27685</c:v>
                </c:pt>
                <c:pt idx="28">
                  <c:v>27691</c:v>
                </c:pt>
                <c:pt idx="29">
                  <c:v>28374</c:v>
                </c:pt>
                <c:pt idx="30">
                  <c:v>27970</c:v>
                </c:pt>
                <c:pt idx="31">
                  <c:v>28680</c:v>
                </c:pt>
                <c:pt idx="32">
                  <c:v>28778</c:v>
                </c:pt>
                <c:pt idx="33">
                  <c:v>28858</c:v>
                </c:pt>
                <c:pt idx="34">
                  <c:v>28843</c:v>
                </c:pt>
                <c:pt idx="35">
                  <c:v>29562</c:v>
                </c:pt>
                <c:pt idx="36">
                  <c:v>30460</c:v>
                </c:pt>
                <c:pt idx="37">
                  <c:v>30039</c:v>
                </c:pt>
                <c:pt idx="38">
                  <c:v>30384</c:v>
                </c:pt>
                <c:pt idx="39">
                  <c:v>30644</c:v>
                </c:pt>
                <c:pt idx="40">
                  <c:v>30905</c:v>
                </c:pt>
                <c:pt idx="41">
                  <c:v>31044</c:v>
                </c:pt>
                <c:pt idx="42">
                  <c:v>31080</c:v>
                </c:pt>
                <c:pt idx="43">
                  <c:v>31544</c:v>
                </c:pt>
                <c:pt idx="44">
                  <c:v>31358</c:v>
                </c:pt>
                <c:pt idx="45">
                  <c:v>32346</c:v>
                </c:pt>
                <c:pt idx="46">
                  <c:v>32657</c:v>
                </c:pt>
                <c:pt idx="47">
                  <c:v>32319</c:v>
                </c:pt>
                <c:pt idx="48">
                  <c:v>32357</c:v>
                </c:pt>
                <c:pt idx="49">
                  <c:v>32815</c:v>
                </c:pt>
                <c:pt idx="50">
                  <c:v>32767</c:v>
                </c:pt>
                <c:pt idx="51">
                  <c:v>33100</c:v>
                </c:pt>
                <c:pt idx="52">
                  <c:v>33708</c:v>
                </c:pt>
                <c:pt idx="53">
                  <c:v>33638</c:v>
                </c:pt>
                <c:pt idx="54">
                  <c:v>34074</c:v>
                </c:pt>
                <c:pt idx="55">
                  <c:v>34316</c:v>
                </c:pt>
                <c:pt idx="56">
                  <c:v>34574</c:v>
                </c:pt>
                <c:pt idx="57">
                  <c:v>34622</c:v>
                </c:pt>
                <c:pt idx="58">
                  <c:v>35137</c:v>
                </c:pt>
                <c:pt idx="59">
                  <c:v>35087</c:v>
                </c:pt>
                <c:pt idx="60">
                  <c:v>35521</c:v>
                </c:pt>
                <c:pt idx="61">
                  <c:v>35459</c:v>
                </c:pt>
                <c:pt idx="62">
                  <c:v>35321</c:v>
                </c:pt>
                <c:pt idx="63">
                  <c:v>35017</c:v>
                </c:pt>
                <c:pt idx="64">
                  <c:v>35037</c:v>
                </c:pt>
                <c:pt idx="65">
                  <c:v>35156</c:v>
                </c:pt>
                <c:pt idx="66">
                  <c:v>35477</c:v>
                </c:pt>
                <c:pt idx="67">
                  <c:v>35584</c:v>
                </c:pt>
                <c:pt idx="68">
                  <c:v>35506</c:v>
                </c:pt>
                <c:pt idx="69">
                  <c:v>35487</c:v>
                </c:pt>
                <c:pt idx="70">
                  <c:v>36337</c:v>
                </c:pt>
                <c:pt idx="71">
                  <c:v>37377</c:v>
                </c:pt>
                <c:pt idx="72">
                  <c:v>36296</c:v>
                </c:pt>
                <c:pt idx="73">
                  <c:v>37132</c:v>
                </c:pt>
                <c:pt idx="74">
                  <c:v>37580</c:v>
                </c:pt>
                <c:pt idx="75">
                  <c:v>37729</c:v>
                </c:pt>
                <c:pt idx="76">
                  <c:v>37764</c:v>
                </c:pt>
                <c:pt idx="77">
                  <c:v>38633</c:v>
                </c:pt>
                <c:pt idx="78">
                  <c:v>38452</c:v>
                </c:pt>
                <c:pt idx="79">
                  <c:v>38910</c:v>
                </c:pt>
                <c:pt idx="80">
                  <c:v>38986</c:v>
                </c:pt>
                <c:pt idx="81">
                  <c:v>39383</c:v>
                </c:pt>
                <c:pt idx="82">
                  <c:v>39616</c:v>
                </c:pt>
                <c:pt idx="83">
                  <c:v>39740</c:v>
                </c:pt>
                <c:pt idx="84">
                  <c:v>39670</c:v>
                </c:pt>
                <c:pt idx="85">
                  <c:v>40668</c:v>
                </c:pt>
                <c:pt idx="86">
                  <c:v>40522</c:v>
                </c:pt>
                <c:pt idx="87">
                  <c:v>40792</c:v>
                </c:pt>
                <c:pt idx="88">
                  <c:v>40618</c:v>
                </c:pt>
                <c:pt idx="89">
                  <c:v>40925</c:v>
                </c:pt>
                <c:pt idx="90">
                  <c:v>41494</c:v>
                </c:pt>
                <c:pt idx="91">
                  <c:v>41403</c:v>
                </c:pt>
                <c:pt idx="92">
                  <c:v>41886</c:v>
                </c:pt>
                <c:pt idx="93">
                  <c:v>42104</c:v>
                </c:pt>
                <c:pt idx="94">
                  <c:v>41983</c:v>
                </c:pt>
                <c:pt idx="95">
                  <c:v>42225</c:v>
                </c:pt>
                <c:pt idx="96">
                  <c:v>43071</c:v>
                </c:pt>
                <c:pt idx="97">
                  <c:v>43319</c:v>
                </c:pt>
                <c:pt idx="98">
                  <c:v>43386</c:v>
                </c:pt>
                <c:pt idx="99">
                  <c:v>43845</c:v>
                </c:pt>
                <c:pt idx="100">
                  <c:v>44734</c:v>
                </c:pt>
                <c:pt idx="101">
                  <c:v>45288</c:v>
                </c:pt>
                <c:pt idx="102">
                  <c:v>45187</c:v>
                </c:pt>
                <c:pt idx="103">
                  <c:v>45498</c:v>
                </c:pt>
                <c:pt idx="104">
                  <c:v>45832</c:v>
                </c:pt>
                <c:pt idx="105">
                  <c:v>46348</c:v>
                </c:pt>
                <c:pt idx="106">
                  <c:v>46416</c:v>
                </c:pt>
                <c:pt idx="107">
                  <c:v>47397</c:v>
                </c:pt>
                <c:pt idx="108">
                  <c:v>48016</c:v>
                </c:pt>
                <c:pt idx="109">
                  <c:v>48174</c:v>
                </c:pt>
                <c:pt idx="110">
                  <c:v>48773</c:v>
                </c:pt>
                <c:pt idx="111">
                  <c:v>49347</c:v>
                </c:pt>
                <c:pt idx="112">
                  <c:v>49744</c:v>
                </c:pt>
                <c:pt idx="113">
                  <c:v>50171</c:v>
                </c:pt>
                <c:pt idx="114">
                  <c:v>50487</c:v>
                </c:pt>
                <c:pt idx="115">
                  <c:v>50843</c:v>
                </c:pt>
                <c:pt idx="116">
                  <c:v>51370</c:v>
                </c:pt>
                <c:pt idx="117">
                  <c:v>50958</c:v>
                </c:pt>
                <c:pt idx="118">
                  <c:v>53216</c:v>
                </c:pt>
                <c:pt idx="119">
                  <c:v>54161</c:v>
                </c:pt>
                <c:pt idx="120">
                  <c:v>54249</c:v>
                </c:pt>
                <c:pt idx="121">
                  <c:v>54452</c:v>
                </c:pt>
                <c:pt idx="122">
                  <c:v>55276</c:v>
                </c:pt>
                <c:pt idx="123">
                  <c:v>55957</c:v>
                </c:pt>
                <c:pt idx="124">
                  <c:v>55690</c:v>
                </c:pt>
                <c:pt idx="125">
                  <c:v>55917</c:v>
                </c:pt>
                <c:pt idx="126">
                  <c:v>56863</c:v>
                </c:pt>
                <c:pt idx="127">
                  <c:v>57015</c:v>
                </c:pt>
                <c:pt idx="128">
                  <c:v>57615</c:v>
                </c:pt>
                <c:pt idx="129">
                  <c:v>57893</c:v>
                </c:pt>
                <c:pt idx="130">
                  <c:v>60277</c:v>
                </c:pt>
                <c:pt idx="131">
                  <c:v>53791</c:v>
                </c:pt>
                <c:pt idx="132">
                  <c:v>58887</c:v>
                </c:pt>
                <c:pt idx="133">
                  <c:v>59209</c:v>
                </c:pt>
                <c:pt idx="134">
                  <c:v>59382</c:v>
                </c:pt>
                <c:pt idx="135">
                  <c:v>59814</c:v>
                </c:pt>
                <c:pt idx="136">
                  <c:v>61629</c:v>
                </c:pt>
                <c:pt idx="137">
                  <c:v>63218</c:v>
                </c:pt>
                <c:pt idx="138">
                  <c:v>63559</c:v>
                </c:pt>
                <c:pt idx="139">
                  <c:v>64000</c:v>
                </c:pt>
                <c:pt idx="140">
                  <c:v>64594</c:v>
                </c:pt>
                <c:pt idx="141">
                  <c:v>64738</c:v>
                </c:pt>
                <c:pt idx="142">
                  <c:v>64802</c:v>
                </c:pt>
                <c:pt idx="143">
                  <c:v>64701</c:v>
                </c:pt>
                <c:pt idx="144">
                  <c:v>65587</c:v>
                </c:pt>
                <c:pt idx="145">
                  <c:v>66416</c:v>
                </c:pt>
                <c:pt idx="146">
                  <c:v>70636</c:v>
                </c:pt>
                <c:pt idx="147">
                  <c:v>78848</c:v>
                </c:pt>
                <c:pt idx="148">
                  <c:v>85171</c:v>
                </c:pt>
                <c:pt idx="149">
                  <c:v>84508</c:v>
                </c:pt>
                <c:pt idx="150">
                  <c:v>86034</c:v>
                </c:pt>
                <c:pt idx="151">
                  <c:v>88289</c:v>
                </c:pt>
                <c:pt idx="152">
                  <c:v>88097</c:v>
                </c:pt>
                <c:pt idx="153">
                  <c:v>88932</c:v>
                </c:pt>
                <c:pt idx="154">
                  <c:v>89714</c:v>
                </c:pt>
                <c:pt idx="155">
                  <c:v>90690</c:v>
                </c:pt>
                <c:pt idx="156">
                  <c:v>90810</c:v>
                </c:pt>
                <c:pt idx="157">
                  <c:v>87711</c:v>
                </c:pt>
                <c:pt idx="158">
                  <c:v>93736</c:v>
                </c:pt>
                <c:pt idx="159">
                  <c:v>93803</c:v>
                </c:pt>
                <c:pt idx="160">
                  <c:v>91719</c:v>
                </c:pt>
                <c:pt idx="161">
                  <c:v>95212</c:v>
                </c:pt>
                <c:pt idx="162">
                  <c:v>90102</c:v>
                </c:pt>
                <c:pt idx="163">
                  <c:v>94607</c:v>
                </c:pt>
                <c:pt idx="164">
                  <c:v>94978</c:v>
                </c:pt>
                <c:pt idx="165">
                  <c:v>98070</c:v>
                </c:pt>
                <c:pt idx="166">
                  <c:v>99426</c:v>
                </c:pt>
                <c:pt idx="167">
                  <c:v>98442</c:v>
                </c:pt>
                <c:pt idx="168">
                  <c:v>104142</c:v>
                </c:pt>
                <c:pt idx="169">
                  <c:v>102329</c:v>
                </c:pt>
                <c:pt idx="170">
                  <c:v>103341</c:v>
                </c:pt>
                <c:pt idx="171">
                  <c:v>104504</c:v>
                </c:pt>
                <c:pt idx="172">
                  <c:v>105375</c:v>
                </c:pt>
                <c:pt idx="173">
                  <c:v>105255</c:v>
                </c:pt>
                <c:pt idx="174">
                  <c:v>107420</c:v>
                </c:pt>
                <c:pt idx="175">
                  <c:v>108212</c:v>
                </c:pt>
                <c:pt idx="176">
                  <c:v>109127</c:v>
                </c:pt>
                <c:pt idx="177">
                  <c:v>109458</c:v>
                </c:pt>
                <c:pt idx="178">
                  <c:v>107588</c:v>
                </c:pt>
                <c:pt idx="179">
                  <c:v>109968</c:v>
                </c:pt>
                <c:pt idx="180">
                  <c:v>109904</c:v>
                </c:pt>
                <c:pt idx="181">
                  <c:v>110866</c:v>
                </c:pt>
                <c:pt idx="182">
                  <c:v>110830</c:v>
                </c:pt>
                <c:pt idx="183">
                  <c:v>112206</c:v>
                </c:pt>
                <c:pt idx="184">
                  <c:v>112977</c:v>
                </c:pt>
                <c:pt idx="185">
                  <c:v>11517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132-42DF-8931-A03A2C2BB80F}"/>
            </c:ext>
          </c:extLst>
        </c:ser>
        <c:ser>
          <c:idx val="1"/>
          <c:order val="1"/>
          <c:tx>
            <c:strRef>
              <c:f>NonstoreRetailVOther!$C$1</c:f>
              <c:strCache>
                <c:ptCount val="1"/>
                <c:pt idx="0">
                  <c:v> Food &amp; beverage</c:v>
                </c:pt>
              </c:strCache>
            </c:strRef>
          </c:tx>
          <c:spPr>
            <a:ln w="38100" cap="rnd">
              <a:solidFill>
                <a:srgbClr val="00B05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NonstoreRetailVOther!$A$2:$A$188</c:f>
              <c:strCache>
                <c:ptCount val="186"/>
                <c:pt idx="0">
                  <c:v>2008</c:v>
                </c:pt>
                <c:pt idx="1">
                  <c:v>Feb-08</c:v>
                </c:pt>
                <c:pt idx="2">
                  <c:v>Mar-08</c:v>
                </c:pt>
                <c:pt idx="3">
                  <c:v>Apr-08</c:v>
                </c:pt>
                <c:pt idx="4">
                  <c:v>May-08</c:v>
                </c:pt>
                <c:pt idx="5">
                  <c:v>Jun-08</c:v>
                </c:pt>
                <c:pt idx="6">
                  <c:v>Jul-08</c:v>
                </c:pt>
                <c:pt idx="7">
                  <c:v>Aug-08</c:v>
                </c:pt>
                <c:pt idx="8">
                  <c:v>Sep-08</c:v>
                </c:pt>
                <c:pt idx="9">
                  <c:v>Oct-08</c:v>
                </c:pt>
                <c:pt idx="10">
                  <c:v>Nov-08</c:v>
                </c:pt>
                <c:pt idx="11">
                  <c:v>Dec-08</c:v>
                </c:pt>
                <c:pt idx="12">
                  <c:v>2009</c:v>
                </c:pt>
                <c:pt idx="13">
                  <c:v>Feb-09</c:v>
                </c:pt>
                <c:pt idx="14">
                  <c:v>Mar-09</c:v>
                </c:pt>
                <c:pt idx="15">
                  <c:v>Apr-09</c:v>
                </c:pt>
                <c:pt idx="16">
                  <c:v>May-09</c:v>
                </c:pt>
                <c:pt idx="17">
                  <c:v>Jun-09</c:v>
                </c:pt>
                <c:pt idx="18">
                  <c:v>Jul-09</c:v>
                </c:pt>
                <c:pt idx="19">
                  <c:v>Aug-09</c:v>
                </c:pt>
                <c:pt idx="20">
                  <c:v>Sep-09</c:v>
                </c:pt>
                <c:pt idx="21">
                  <c:v>Oct-09</c:v>
                </c:pt>
                <c:pt idx="22">
                  <c:v>Nov-09</c:v>
                </c:pt>
                <c:pt idx="23">
                  <c:v>Dec-09</c:v>
                </c:pt>
                <c:pt idx="24">
                  <c:v>2010</c:v>
                </c:pt>
                <c:pt idx="25">
                  <c:v>10-Feb</c:v>
                </c:pt>
                <c:pt idx="26">
                  <c:v>10-Mar</c:v>
                </c:pt>
                <c:pt idx="27">
                  <c:v>10-Apr</c:v>
                </c:pt>
                <c:pt idx="28">
                  <c:v>10-May</c:v>
                </c:pt>
                <c:pt idx="29">
                  <c:v>10-Jun</c:v>
                </c:pt>
                <c:pt idx="30">
                  <c:v>10-Jul</c:v>
                </c:pt>
                <c:pt idx="31">
                  <c:v>10-Aug</c:v>
                </c:pt>
                <c:pt idx="32">
                  <c:v>10-Sep</c:v>
                </c:pt>
                <c:pt idx="33">
                  <c:v>10-Oct</c:v>
                </c:pt>
                <c:pt idx="34">
                  <c:v>10-Nov</c:v>
                </c:pt>
                <c:pt idx="35">
                  <c:v>10-Dec</c:v>
                </c:pt>
                <c:pt idx="36">
                  <c:v>2011</c:v>
                </c:pt>
                <c:pt idx="37">
                  <c:v>11-Feb</c:v>
                </c:pt>
                <c:pt idx="38">
                  <c:v>11-Mar</c:v>
                </c:pt>
                <c:pt idx="39">
                  <c:v>11-Apr</c:v>
                </c:pt>
                <c:pt idx="40">
                  <c:v>11-May</c:v>
                </c:pt>
                <c:pt idx="41">
                  <c:v>11-Jun</c:v>
                </c:pt>
                <c:pt idx="42">
                  <c:v>11-Jul</c:v>
                </c:pt>
                <c:pt idx="43">
                  <c:v>11-Aug</c:v>
                </c:pt>
                <c:pt idx="44">
                  <c:v>11-Sep</c:v>
                </c:pt>
                <c:pt idx="45">
                  <c:v>11-Oct</c:v>
                </c:pt>
                <c:pt idx="46">
                  <c:v>11-Nov</c:v>
                </c:pt>
                <c:pt idx="47">
                  <c:v>11-Dec</c:v>
                </c:pt>
                <c:pt idx="48">
                  <c:v>2012</c:v>
                </c:pt>
                <c:pt idx="49">
                  <c:v>12-Feb</c:v>
                </c:pt>
                <c:pt idx="50">
                  <c:v>12-Mar</c:v>
                </c:pt>
                <c:pt idx="51">
                  <c:v>12-Apr</c:v>
                </c:pt>
                <c:pt idx="52">
                  <c:v>12-May</c:v>
                </c:pt>
                <c:pt idx="53">
                  <c:v>12-Jun</c:v>
                </c:pt>
                <c:pt idx="54">
                  <c:v>12-Jul</c:v>
                </c:pt>
                <c:pt idx="55">
                  <c:v>12-Aug</c:v>
                </c:pt>
                <c:pt idx="56">
                  <c:v>12-Sep</c:v>
                </c:pt>
                <c:pt idx="57">
                  <c:v>12-Oct</c:v>
                </c:pt>
                <c:pt idx="58">
                  <c:v>12-Nov</c:v>
                </c:pt>
                <c:pt idx="59">
                  <c:v>12-Dec</c:v>
                </c:pt>
                <c:pt idx="60">
                  <c:v>2013</c:v>
                </c:pt>
                <c:pt idx="61">
                  <c:v>13-Feb</c:v>
                </c:pt>
                <c:pt idx="62">
                  <c:v>13-Mar</c:v>
                </c:pt>
                <c:pt idx="63">
                  <c:v>13-Apr</c:v>
                </c:pt>
                <c:pt idx="64">
                  <c:v>13-May</c:v>
                </c:pt>
                <c:pt idx="65">
                  <c:v>13-Jun</c:v>
                </c:pt>
                <c:pt idx="66">
                  <c:v>13-Jul</c:v>
                </c:pt>
                <c:pt idx="67">
                  <c:v>13-Aug</c:v>
                </c:pt>
                <c:pt idx="68">
                  <c:v>13-Sep</c:v>
                </c:pt>
                <c:pt idx="69">
                  <c:v>13-Oct</c:v>
                </c:pt>
                <c:pt idx="70">
                  <c:v>13-Nov</c:v>
                </c:pt>
                <c:pt idx="71">
                  <c:v>13-Dec</c:v>
                </c:pt>
                <c:pt idx="72">
                  <c:v>2014</c:v>
                </c:pt>
                <c:pt idx="73">
                  <c:v>14-Feb</c:v>
                </c:pt>
                <c:pt idx="74">
                  <c:v>14-Mar</c:v>
                </c:pt>
                <c:pt idx="75">
                  <c:v>14-Apr</c:v>
                </c:pt>
                <c:pt idx="76">
                  <c:v>14-May</c:v>
                </c:pt>
                <c:pt idx="77">
                  <c:v>14-Jun</c:v>
                </c:pt>
                <c:pt idx="78">
                  <c:v>14-Jul</c:v>
                </c:pt>
                <c:pt idx="79">
                  <c:v>14-Aug</c:v>
                </c:pt>
                <c:pt idx="80">
                  <c:v>14-Sep</c:v>
                </c:pt>
                <c:pt idx="81">
                  <c:v>14-Oct</c:v>
                </c:pt>
                <c:pt idx="82">
                  <c:v>14-Nov</c:v>
                </c:pt>
                <c:pt idx="83">
                  <c:v>14-Dec</c:v>
                </c:pt>
                <c:pt idx="84">
                  <c:v>2015</c:v>
                </c:pt>
                <c:pt idx="85">
                  <c:v>15-Feb</c:v>
                </c:pt>
                <c:pt idx="86">
                  <c:v>15-Mar</c:v>
                </c:pt>
                <c:pt idx="87">
                  <c:v>15-Apr</c:v>
                </c:pt>
                <c:pt idx="88">
                  <c:v>15-May</c:v>
                </c:pt>
                <c:pt idx="89">
                  <c:v>15-Jun</c:v>
                </c:pt>
                <c:pt idx="90">
                  <c:v>15-Jul</c:v>
                </c:pt>
                <c:pt idx="91">
                  <c:v>15-Aug</c:v>
                </c:pt>
                <c:pt idx="92">
                  <c:v>15-Sep</c:v>
                </c:pt>
                <c:pt idx="93">
                  <c:v>15-Oct</c:v>
                </c:pt>
                <c:pt idx="94">
                  <c:v>15-Nov</c:v>
                </c:pt>
                <c:pt idx="95">
                  <c:v>15-Dec</c:v>
                </c:pt>
                <c:pt idx="96">
                  <c:v>2016</c:v>
                </c:pt>
                <c:pt idx="97">
                  <c:v>16-Feb</c:v>
                </c:pt>
                <c:pt idx="98">
                  <c:v>16-Mar</c:v>
                </c:pt>
                <c:pt idx="99">
                  <c:v>16-Apr</c:v>
                </c:pt>
                <c:pt idx="100">
                  <c:v>16-May</c:v>
                </c:pt>
                <c:pt idx="101">
                  <c:v>16-Jun</c:v>
                </c:pt>
                <c:pt idx="102">
                  <c:v>16-Jul</c:v>
                </c:pt>
                <c:pt idx="103">
                  <c:v>16-Aug</c:v>
                </c:pt>
                <c:pt idx="104">
                  <c:v>16-Sep</c:v>
                </c:pt>
                <c:pt idx="105">
                  <c:v>16-Oct</c:v>
                </c:pt>
                <c:pt idx="106">
                  <c:v>16-Nov</c:v>
                </c:pt>
                <c:pt idx="107">
                  <c:v>16-Dec</c:v>
                </c:pt>
                <c:pt idx="108">
                  <c:v>2017</c:v>
                </c:pt>
                <c:pt idx="109">
                  <c:v>17-Feb</c:v>
                </c:pt>
                <c:pt idx="110">
                  <c:v>17-Mar</c:v>
                </c:pt>
                <c:pt idx="111">
                  <c:v>17-Apr</c:v>
                </c:pt>
                <c:pt idx="112">
                  <c:v>17-May</c:v>
                </c:pt>
                <c:pt idx="113">
                  <c:v>17-Jun</c:v>
                </c:pt>
                <c:pt idx="114">
                  <c:v>17-Jul</c:v>
                </c:pt>
                <c:pt idx="115">
                  <c:v>17-Aug</c:v>
                </c:pt>
                <c:pt idx="116">
                  <c:v>17-Sep</c:v>
                </c:pt>
                <c:pt idx="117">
                  <c:v>17-Oct</c:v>
                </c:pt>
                <c:pt idx="118">
                  <c:v>17-Nov</c:v>
                </c:pt>
                <c:pt idx="119">
                  <c:v>17-Dec</c:v>
                </c:pt>
                <c:pt idx="120">
                  <c:v>2018</c:v>
                </c:pt>
                <c:pt idx="121">
                  <c:v>18-Feb</c:v>
                </c:pt>
                <c:pt idx="122">
                  <c:v>18-Mar</c:v>
                </c:pt>
                <c:pt idx="123">
                  <c:v>18-Apr</c:v>
                </c:pt>
                <c:pt idx="124">
                  <c:v>18-May</c:v>
                </c:pt>
                <c:pt idx="125">
                  <c:v>18-Jun</c:v>
                </c:pt>
                <c:pt idx="126">
                  <c:v>18-Jul</c:v>
                </c:pt>
                <c:pt idx="127">
                  <c:v>18-Aug</c:v>
                </c:pt>
                <c:pt idx="128">
                  <c:v>18-Sep</c:v>
                </c:pt>
                <c:pt idx="129">
                  <c:v>18-Oct</c:v>
                </c:pt>
                <c:pt idx="130">
                  <c:v>18-Nov</c:v>
                </c:pt>
                <c:pt idx="131">
                  <c:v>18-Dec</c:v>
                </c:pt>
                <c:pt idx="132">
                  <c:v>2019</c:v>
                </c:pt>
                <c:pt idx="133">
                  <c:v>19-Feb</c:v>
                </c:pt>
                <c:pt idx="134">
                  <c:v>19-Mar</c:v>
                </c:pt>
                <c:pt idx="135">
                  <c:v>19-Apr</c:v>
                </c:pt>
                <c:pt idx="136">
                  <c:v>19-May</c:v>
                </c:pt>
                <c:pt idx="137">
                  <c:v>19-Jun</c:v>
                </c:pt>
                <c:pt idx="138">
                  <c:v>19-Jul</c:v>
                </c:pt>
                <c:pt idx="139">
                  <c:v>19-Aug</c:v>
                </c:pt>
                <c:pt idx="140">
                  <c:v>19-Sep</c:v>
                </c:pt>
                <c:pt idx="141">
                  <c:v>19-Oct</c:v>
                </c:pt>
                <c:pt idx="142">
                  <c:v>19-Nov</c:v>
                </c:pt>
                <c:pt idx="143">
                  <c:v>19-Dec</c:v>
                </c:pt>
                <c:pt idx="144">
                  <c:v>2020</c:v>
                </c:pt>
                <c:pt idx="145">
                  <c:v>20-Feb</c:v>
                </c:pt>
                <c:pt idx="146">
                  <c:v>20-Mar</c:v>
                </c:pt>
                <c:pt idx="147">
                  <c:v>20-Apr</c:v>
                </c:pt>
                <c:pt idx="148">
                  <c:v>20-May</c:v>
                </c:pt>
                <c:pt idx="149">
                  <c:v>20-Jun</c:v>
                </c:pt>
                <c:pt idx="150">
                  <c:v>20-Jul</c:v>
                </c:pt>
                <c:pt idx="151">
                  <c:v>20-Aug</c:v>
                </c:pt>
                <c:pt idx="152">
                  <c:v>20-Sep</c:v>
                </c:pt>
                <c:pt idx="153">
                  <c:v>20-Oct</c:v>
                </c:pt>
                <c:pt idx="154">
                  <c:v>20-Nov</c:v>
                </c:pt>
                <c:pt idx="155">
                  <c:v>20-Dec</c:v>
                </c:pt>
                <c:pt idx="156">
                  <c:v>2021</c:v>
                </c:pt>
                <c:pt idx="157">
                  <c:v>21-Feb</c:v>
                </c:pt>
                <c:pt idx="158">
                  <c:v>21-Mar</c:v>
                </c:pt>
                <c:pt idx="159">
                  <c:v>21-Apr</c:v>
                </c:pt>
                <c:pt idx="160">
                  <c:v>21-May</c:v>
                </c:pt>
                <c:pt idx="161">
                  <c:v>21-Jun</c:v>
                </c:pt>
                <c:pt idx="162">
                  <c:v>21-Jul</c:v>
                </c:pt>
                <c:pt idx="163">
                  <c:v>21-Aug</c:v>
                </c:pt>
                <c:pt idx="164">
                  <c:v>21-Sep</c:v>
                </c:pt>
                <c:pt idx="165">
                  <c:v>21-Oct</c:v>
                </c:pt>
                <c:pt idx="166">
                  <c:v>21-Nov</c:v>
                </c:pt>
                <c:pt idx="167">
                  <c:v>21-Dec</c:v>
                </c:pt>
                <c:pt idx="168">
                  <c:v>2022</c:v>
                </c:pt>
                <c:pt idx="169">
                  <c:v>22-Feb</c:v>
                </c:pt>
                <c:pt idx="170">
                  <c:v>22-Mar</c:v>
                </c:pt>
                <c:pt idx="171">
                  <c:v>22-Apr</c:v>
                </c:pt>
                <c:pt idx="172">
                  <c:v>22-May</c:v>
                </c:pt>
                <c:pt idx="173">
                  <c:v>22-Jun</c:v>
                </c:pt>
                <c:pt idx="174">
                  <c:v>22-Jul</c:v>
                </c:pt>
                <c:pt idx="175">
                  <c:v>22-Aug</c:v>
                </c:pt>
                <c:pt idx="176">
                  <c:v>22-Sep</c:v>
                </c:pt>
                <c:pt idx="177">
                  <c:v>22-Oct</c:v>
                </c:pt>
                <c:pt idx="178">
                  <c:v>22-Nov</c:v>
                </c:pt>
                <c:pt idx="179">
                  <c:v>22-Dec</c:v>
                </c:pt>
                <c:pt idx="180">
                  <c:v>2023</c:v>
                </c:pt>
                <c:pt idx="181">
                  <c:v>23-Feb</c:v>
                </c:pt>
                <c:pt idx="182">
                  <c:v>23-Mar</c:v>
                </c:pt>
                <c:pt idx="183">
                  <c:v>23-Apr</c:v>
                </c:pt>
                <c:pt idx="184">
                  <c:v>23-May</c:v>
                </c:pt>
                <c:pt idx="185">
                  <c:v>23-Jun</c:v>
                </c:pt>
              </c:strCache>
            </c:strRef>
          </c:cat>
          <c:val>
            <c:numRef>
              <c:f>NonstoreRetailVOther!$C$2:$C$188</c:f>
              <c:numCache>
                <c:formatCode>#,##0</c:formatCode>
                <c:ptCount val="187"/>
                <c:pt idx="0">
                  <c:v>46862</c:v>
                </c:pt>
                <c:pt idx="1">
                  <c:v>46707</c:v>
                </c:pt>
                <c:pt idx="2">
                  <c:v>46883</c:v>
                </c:pt>
                <c:pt idx="3">
                  <c:v>47356</c:v>
                </c:pt>
                <c:pt idx="4">
                  <c:v>47355</c:v>
                </c:pt>
                <c:pt idx="5">
                  <c:v>47568</c:v>
                </c:pt>
                <c:pt idx="6">
                  <c:v>47845</c:v>
                </c:pt>
                <c:pt idx="7">
                  <c:v>47988</c:v>
                </c:pt>
                <c:pt idx="8">
                  <c:v>47740</c:v>
                </c:pt>
                <c:pt idx="9">
                  <c:v>47703</c:v>
                </c:pt>
                <c:pt idx="10">
                  <c:v>47363</c:v>
                </c:pt>
                <c:pt idx="11">
                  <c:v>46942</c:v>
                </c:pt>
                <c:pt idx="12">
                  <c:v>47639</c:v>
                </c:pt>
                <c:pt idx="13">
                  <c:v>46928</c:v>
                </c:pt>
                <c:pt idx="14">
                  <c:v>46912</c:v>
                </c:pt>
                <c:pt idx="15">
                  <c:v>47133</c:v>
                </c:pt>
                <c:pt idx="16">
                  <c:v>47219</c:v>
                </c:pt>
                <c:pt idx="17">
                  <c:v>47350</c:v>
                </c:pt>
                <c:pt idx="18">
                  <c:v>47330</c:v>
                </c:pt>
                <c:pt idx="19">
                  <c:v>47309</c:v>
                </c:pt>
                <c:pt idx="20">
                  <c:v>47559</c:v>
                </c:pt>
                <c:pt idx="21">
                  <c:v>47603</c:v>
                </c:pt>
                <c:pt idx="22">
                  <c:v>47689</c:v>
                </c:pt>
                <c:pt idx="23">
                  <c:v>48134</c:v>
                </c:pt>
                <c:pt idx="24">
                  <c:v>47876</c:v>
                </c:pt>
                <c:pt idx="25">
                  <c:v>48699</c:v>
                </c:pt>
                <c:pt idx="26">
                  <c:v>48269</c:v>
                </c:pt>
                <c:pt idx="27">
                  <c:v>48217</c:v>
                </c:pt>
                <c:pt idx="28">
                  <c:v>48191</c:v>
                </c:pt>
                <c:pt idx="29">
                  <c:v>47907</c:v>
                </c:pt>
                <c:pt idx="30">
                  <c:v>47957</c:v>
                </c:pt>
                <c:pt idx="31">
                  <c:v>48260</c:v>
                </c:pt>
                <c:pt idx="32">
                  <c:v>48673</c:v>
                </c:pt>
                <c:pt idx="33">
                  <c:v>48574</c:v>
                </c:pt>
                <c:pt idx="34">
                  <c:v>49175</c:v>
                </c:pt>
                <c:pt idx="35">
                  <c:v>49186</c:v>
                </c:pt>
                <c:pt idx="36">
                  <c:v>49671</c:v>
                </c:pt>
                <c:pt idx="37">
                  <c:v>50066</c:v>
                </c:pt>
                <c:pt idx="38">
                  <c:v>50076</c:v>
                </c:pt>
                <c:pt idx="39">
                  <c:v>50840</c:v>
                </c:pt>
                <c:pt idx="40">
                  <c:v>50382</c:v>
                </c:pt>
                <c:pt idx="41">
                  <c:v>50942</c:v>
                </c:pt>
                <c:pt idx="42">
                  <c:v>50946</c:v>
                </c:pt>
                <c:pt idx="43">
                  <c:v>51177</c:v>
                </c:pt>
                <c:pt idx="44">
                  <c:v>51098</c:v>
                </c:pt>
                <c:pt idx="45">
                  <c:v>51276</c:v>
                </c:pt>
                <c:pt idx="46">
                  <c:v>51364</c:v>
                </c:pt>
                <c:pt idx="47">
                  <c:v>51266</c:v>
                </c:pt>
                <c:pt idx="48">
                  <c:v>51535</c:v>
                </c:pt>
                <c:pt idx="49">
                  <c:v>51652</c:v>
                </c:pt>
                <c:pt idx="50">
                  <c:v>52108</c:v>
                </c:pt>
                <c:pt idx="51">
                  <c:v>52249</c:v>
                </c:pt>
                <c:pt idx="52">
                  <c:v>52281</c:v>
                </c:pt>
                <c:pt idx="53">
                  <c:v>52251</c:v>
                </c:pt>
                <c:pt idx="54">
                  <c:v>52231</c:v>
                </c:pt>
                <c:pt idx="55">
                  <c:v>52361</c:v>
                </c:pt>
                <c:pt idx="56">
                  <c:v>52492</c:v>
                </c:pt>
                <c:pt idx="57">
                  <c:v>52852</c:v>
                </c:pt>
                <c:pt idx="58">
                  <c:v>52672</c:v>
                </c:pt>
                <c:pt idx="59">
                  <c:v>52694</c:v>
                </c:pt>
                <c:pt idx="60">
                  <c:v>52655</c:v>
                </c:pt>
                <c:pt idx="61">
                  <c:v>53281</c:v>
                </c:pt>
                <c:pt idx="62">
                  <c:v>53102</c:v>
                </c:pt>
                <c:pt idx="63">
                  <c:v>52725</c:v>
                </c:pt>
                <c:pt idx="64">
                  <c:v>53252</c:v>
                </c:pt>
                <c:pt idx="65">
                  <c:v>53164</c:v>
                </c:pt>
                <c:pt idx="66">
                  <c:v>53612</c:v>
                </c:pt>
                <c:pt idx="67">
                  <c:v>53740</c:v>
                </c:pt>
                <c:pt idx="68">
                  <c:v>53812</c:v>
                </c:pt>
                <c:pt idx="69">
                  <c:v>53936</c:v>
                </c:pt>
                <c:pt idx="70">
                  <c:v>54062</c:v>
                </c:pt>
                <c:pt idx="71">
                  <c:v>54596</c:v>
                </c:pt>
                <c:pt idx="72">
                  <c:v>54789</c:v>
                </c:pt>
                <c:pt idx="73">
                  <c:v>54805</c:v>
                </c:pt>
                <c:pt idx="74">
                  <c:v>54878</c:v>
                </c:pt>
                <c:pt idx="75">
                  <c:v>55269</c:v>
                </c:pt>
                <c:pt idx="76">
                  <c:v>55450</c:v>
                </c:pt>
                <c:pt idx="77">
                  <c:v>55901</c:v>
                </c:pt>
                <c:pt idx="78">
                  <c:v>56135</c:v>
                </c:pt>
                <c:pt idx="79">
                  <c:v>56293</c:v>
                </c:pt>
                <c:pt idx="80">
                  <c:v>56461</c:v>
                </c:pt>
                <c:pt idx="81">
                  <c:v>56768</c:v>
                </c:pt>
                <c:pt idx="82">
                  <c:v>56754</c:v>
                </c:pt>
                <c:pt idx="83">
                  <c:v>57054</c:v>
                </c:pt>
                <c:pt idx="84">
                  <c:v>57108</c:v>
                </c:pt>
                <c:pt idx="85">
                  <c:v>57183</c:v>
                </c:pt>
                <c:pt idx="86">
                  <c:v>57168</c:v>
                </c:pt>
                <c:pt idx="87">
                  <c:v>57083</c:v>
                </c:pt>
                <c:pt idx="88">
                  <c:v>57099</c:v>
                </c:pt>
                <c:pt idx="89">
                  <c:v>57344</c:v>
                </c:pt>
                <c:pt idx="90">
                  <c:v>57564</c:v>
                </c:pt>
                <c:pt idx="91">
                  <c:v>57528</c:v>
                </c:pt>
                <c:pt idx="92">
                  <c:v>57386</c:v>
                </c:pt>
                <c:pt idx="93">
                  <c:v>57183</c:v>
                </c:pt>
                <c:pt idx="94">
                  <c:v>57522</c:v>
                </c:pt>
                <c:pt idx="95">
                  <c:v>57400</c:v>
                </c:pt>
                <c:pt idx="96">
                  <c:v>57551</c:v>
                </c:pt>
                <c:pt idx="97">
                  <c:v>57714</c:v>
                </c:pt>
                <c:pt idx="98">
                  <c:v>57229</c:v>
                </c:pt>
                <c:pt idx="99">
                  <c:v>57903</c:v>
                </c:pt>
                <c:pt idx="100">
                  <c:v>58104</c:v>
                </c:pt>
                <c:pt idx="101">
                  <c:v>58455</c:v>
                </c:pt>
                <c:pt idx="102">
                  <c:v>58164</c:v>
                </c:pt>
                <c:pt idx="103">
                  <c:v>58388</c:v>
                </c:pt>
                <c:pt idx="104">
                  <c:v>58772</c:v>
                </c:pt>
                <c:pt idx="105">
                  <c:v>59053</c:v>
                </c:pt>
                <c:pt idx="106">
                  <c:v>59103</c:v>
                </c:pt>
                <c:pt idx="107">
                  <c:v>59393</c:v>
                </c:pt>
                <c:pt idx="108">
                  <c:v>59571</c:v>
                </c:pt>
                <c:pt idx="109">
                  <c:v>59914</c:v>
                </c:pt>
                <c:pt idx="110">
                  <c:v>60341</c:v>
                </c:pt>
                <c:pt idx="111">
                  <c:v>60481</c:v>
                </c:pt>
                <c:pt idx="112">
                  <c:v>60619</c:v>
                </c:pt>
                <c:pt idx="113">
                  <c:v>60369</c:v>
                </c:pt>
                <c:pt idx="114">
                  <c:v>60397</c:v>
                </c:pt>
                <c:pt idx="115">
                  <c:v>60708</c:v>
                </c:pt>
                <c:pt idx="116">
                  <c:v>61324</c:v>
                </c:pt>
                <c:pt idx="117">
                  <c:v>61606</c:v>
                </c:pt>
                <c:pt idx="118">
                  <c:v>61678</c:v>
                </c:pt>
                <c:pt idx="119">
                  <c:v>62304</c:v>
                </c:pt>
                <c:pt idx="120">
                  <c:v>61793</c:v>
                </c:pt>
                <c:pt idx="121">
                  <c:v>62049</c:v>
                </c:pt>
                <c:pt idx="122">
                  <c:v>62231</c:v>
                </c:pt>
                <c:pt idx="123">
                  <c:v>62353</c:v>
                </c:pt>
                <c:pt idx="124">
                  <c:v>62434</c:v>
                </c:pt>
                <c:pt idx="125">
                  <c:v>62202</c:v>
                </c:pt>
                <c:pt idx="126">
                  <c:v>62597</c:v>
                </c:pt>
                <c:pt idx="127">
                  <c:v>62430</c:v>
                </c:pt>
                <c:pt idx="128">
                  <c:v>62777</c:v>
                </c:pt>
                <c:pt idx="129">
                  <c:v>63119</c:v>
                </c:pt>
                <c:pt idx="130">
                  <c:v>63210</c:v>
                </c:pt>
                <c:pt idx="131">
                  <c:v>63264</c:v>
                </c:pt>
                <c:pt idx="132">
                  <c:v>64172</c:v>
                </c:pt>
                <c:pt idx="133">
                  <c:v>62953</c:v>
                </c:pt>
                <c:pt idx="134">
                  <c:v>64066</c:v>
                </c:pt>
                <c:pt idx="135">
                  <c:v>64293</c:v>
                </c:pt>
                <c:pt idx="136">
                  <c:v>64215</c:v>
                </c:pt>
                <c:pt idx="137">
                  <c:v>64523</c:v>
                </c:pt>
                <c:pt idx="138">
                  <c:v>65362</c:v>
                </c:pt>
                <c:pt idx="139">
                  <c:v>65375</c:v>
                </c:pt>
                <c:pt idx="140">
                  <c:v>64873</c:v>
                </c:pt>
                <c:pt idx="141">
                  <c:v>64717</c:v>
                </c:pt>
                <c:pt idx="142">
                  <c:v>64901</c:v>
                </c:pt>
                <c:pt idx="143">
                  <c:v>65375</c:v>
                </c:pt>
                <c:pt idx="144">
                  <c:v>64665</c:v>
                </c:pt>
                <c:pt idx="145">
                  <c:v>64859</c:v>
                </c:pt>
                <c:pt idx="146">
                  <c:v>81816</c:v>
                </c:pt>
                <c:pt idx="147">
                  <c:v>70989</c:v>
                </c:pt>
                <c:pt idx="148">
                  <c:v>72222</c:v>
                </c:pt>
                <c:pt idx="149">
                  <c:v>70819</c:v>
                </c:pt>
                <c:pt idx="150">
                  <c:v>71247</c:v>
                </c:pt>
                <c:pt idx="151">
                  <c:v>70150</c:v>
                </c:pt>
                <c:pt idx="152">
                  <c:v>70162</c:v>
                </c:pt>
                <c:pt idx="153">
                  <c:v>69699</c:v>
                </c:pt>
                <c:pt idx="154">
                  <c:v>70559</c:v>
                </c:pt>
                <c:pt idx="155">
                  <c:v>70368</c:v>
                </c:pt>
                <c:pt idx="156">
                  <c:v>71322</c:v>
                </c:pt>
                <c:pt idx="157">
                  <c:v>71650</c:v>
                </c:pt>
                <c:pt idx="158">
                  <c:v>71966</c:v>
                </c:pt>
                <c:pt idx="159">
                  <c:v>72553</c:v>
                </c:pt>
                <c:pt idx="160">
                  <c:v>73178</c:v>
                </c:pt>
                <c:pt idx="161">
                  <c:v>73796</c:v>
                </c:pt>
                <c:pt idx="162">
                  <c:v>73663</c:v>
                </c:pt>
                <c:pt idx="163">
                  <c:v>75361</c:v>
                </c:pt>
                <c:pt idx="164">
                  <c:v>75724</c:v>
                </c:pt>
                <c:pt idx="165">
                  <c:v>76303</c:v>
                </c:pt>
                <c:pt idx="166">
                  <c:v>76525</c:v>
                </c:pt>
                <c:pt idx="167">
                  <c:v>77013</c:v>
                </c:pt>
                <c:pt idx="168">
                  <c:v>77522</c:v>
                </c:pt>
                <c:pt idx="169">
                  <c:v>77778</c:v>
                </c:pt>
                <c:pt idx="170">
                  <c:v>78468</c:v>
                </c:pt>
                <c:pt idx="171">
                  <c:v>78807</c:v>
                </c:pt>
                <c:pt idx="172">
                  <c:v>79541</c:v>
                </c:pt>
                <c:pt idx="173">
                  <c:v>80183</c:v>
                </c:pt>
                <c:pt idx="174">
                  <c:v>80116</c:v>
                </c:pt>
                <c:pt idx="175">
                  <c:v>80636</c:v>
                </c:pt>
                <c:pt idx="176">
                  <c:v>81246</c:v>
                </c:pt>
                <c:pt idx="177">
                  <c:v>82255</c:v>
                </c:pt>
                <c:pt idx="178">
                  <c:v>82571</c:v>
                </c:pt>
                <c:pt idx="179">
                  <c:v>82183</c:v>
                </c:pt>
                <c:pt idx="180">
                  <c:v>81794</c:v>
                </c:pt>
                <c:pt idx="181">
                  <c:v>82144</c:v>
                </c:pt>
                <c:pt idx="182">
                  <c:v>81888</c:v>
                </c:pt>
                <c:pt idx="183">
                  <c:v>81778</c:v>
                </c:pt>
                <c:pt idx="184">
                  <c:v>81814</c:v>
                </c:pt>
                <c:pt idx="185">
                  <c:v>8122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32-42DF-8931-A03A2C2BB80F}"/>
            </c:ext>
          </c:extLst>
        </c:ser>
        <c:ser>
          <c:idx val="2"/>
          <c:order val="2"/>
          <c:tx>
            <c:strRef>
              <c:f>NonstoreRetailVOther!$D$1</c:f>
              <c:strCache>
                <c:ptCount val="1"/>
                <c:pt idx="0">
                  <c:v> General merchandise</c:v>
                </c:pt>
              </c:strCache>
            </c:strRef>
          </c:tx>
          <c:spPr>
            <a:ln w="38100" cap="rnd">
              <a:solidFill>
                <a:srgbClr val="00206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NonstoreRetailVOther!$A$2:$A$188</c:f>
              <c:strCache>
                <c:ptCount val="186"/>
                <c:pt idx="0">
                  <c:v>2008</c:v>
                </c:pt>
                <c:pt idx="1">
                  <c:v>Feb-08</c:v>
                </c:pt>
                <c:pt idx="2">
                  <c:v>Mar-08</c:v>
                </c:pt>
                <c:pt idx="3">
                  <c:v>Apr-08</c:v>
                </c:pt>
                <c:pt idx="4">
                  <c:v>May-08</c:v>
                </c:pt>
                <c:pt idx="5">
                  <c:v>Jun-08</c:v>
                </c:pt>
                <c:pt idx="6">
                  <c:v>Jul-08</c:v>
                </c:pt>
                <c:pt idx="7">
                  <c:v>Aug-08</c:v>
                </c:pt>
                <c:pt idx="8">
                  <c:v>Sep-08</c:v>
                </c:pt>
                <c:pt idx="9">
                  <c:v>Oct-08</c:v>
                </c:pt>
                <c:pt idx="10">
                  <c:v>Nov-08</c:v>
                </c:pt>
                <c:pt idx="11">
                  <c:v>Dec-08</c:v>
                </c:pt>
                <c:pt idx="12">
                  <c:v>2009</c:v>
                </c:pt>
                <c:pt idx="13">
                  <c:v>Feb-09</c:v>
                </c:pt>
                <c:pt idx="14">
                  <c:v>Mar-09</c:v>
                </c:pt>
                <c:pt idx="15">
                  <c:v>Apr-09</c:v>
                </c:pt>
                <c:pt idx="16">
                  <c:v>May-09</c:v>
                </c:pt>
                <c:pt idx="17">
                  <c:v>Jun-09</c:v>
                </c:pt>
                <c:pt idx="18">
                  <c:v>Jul-09</c:v>
                </c:pt>
                <c:pt idx="19">
                  <c:v>Aug-09</c:v>
                </c:pt>
                <c:pt idx="20">
                  <c:v>Sep-09</c:v>
                </c:pt>
                <c:pt idx="21">
                  <c:v>Oct-09</c:v>
                </c:pt>
                <c:pt idx="22">
                  <c:v>Nov-09</c:v>
                </c:pt>
                <c:pt idx="23">
                  <c:v>Dec-09</c:v>
                </c:pt>
                <c:pt idx="24">
                  <c:v>2010</c:v>
                </c:pt>
                <c:pt idx="25">
                  <c:v>10-Feb</c:v>
                </c:pt>
                <c:pt idx="26">
                  <c:v>10-Mar</c:v>
                </c:pt>
                <c:pt idx="27">
                  <c:v>10-Apr</c:v>
                </c:pt>
                <c:pt idx="28">
                  <c:v>10-May</c:v>
                </c:pt>
                <c:pt idx="29">
                  <c:v>10-Jun</c:v>
                </c:pt>
                <c:pt idx="30">
                  <c:v>10-Jul</c:v>
                </c:pt>
                <c:pt idx="31">
                  <c:v>10-Aug</c:v>
                </c:pt>
                <c:pt idx="32">
                  <c:v>10-Sep</c:v>
                </c:pt>
                <c:pt idx="33">
                  <c:v>10-Oct</c:v>
                </c:pt>
                <c:pt idx="34">
                  <c:v>10-Nov</c:v>
                </c:pt>
                <c:pt idx="35">
                  <c:v>10-Dec</c:v>
                </c:pt>
                <c:pt idx="36">
                  <c:v>2011</c:v>
                </c:pt>
                <c:pt idx="37">
                  <c:v>11-Feb</c:v>
                </c:pt>
                <c:pt idx="38">
                  <c:v>11-Mar</c:v>
                </c:pt>
                <c:pt idx="39">
                  <c:v>11-Apr</c:v>
                </c:pt>
                <c:pt idx="40">
                  <c:v>11-May</c:v>
                </c:pt>
                <c:pt idx="41">
                  <c:v>11-Jun</c:v>
                </c:pt>
                <c:pt idx="42">
                  <c:v>11-Jul</c:v>
                </c:pt>
                <c:pt idx="43">
                  <c:v>11-Aug</c:v>
                </c:pt>
                <c:pt idx="44">
                  <c:v>11-Sep</c:v>
                </c:pt>
                <c:pt idx="45">
                  <c:v>11-Oct</c:v>
                </c:pt>
                <c:pt idx="46">
                  <c:v>11-Nov</c:v>
                </c:pt>
                <c:pt idx="47">
                  <c:v>11-Dec</c:v>
                </c:pt>
                <c:pt idx="48">
                  <c:v>2012</c:v>
                </c:pt>
                <c:pt idx="49">
                  <c:v>12-Feb</c:v>
                </c:pt>
                <c:pt idx="50">
                  <c:v>12-Mar</c:v>
                </c:pt>
                <c:pt idx="51">
                  <c:v>12-Apr</c:v>
                </c:pt>
                <c:pt idx="52">
                  <c:v>12-May</c:v>
                </c:pt>
                <c:pt idx="53">
                  <c:v>12-Jun</c:v>
                </c:pt>
                <c:pt idx="54">
                  <c:v>12-Jul</c:v>
                </c:pt>
                <c:pt idx="55">
                  <c:v>12-Aug</c:v>
                </c:pt>
                <c:pt idx="56">
                  <c:v>12-Sep</c:v>
                </c:pt>
                <c:pt idx="57">
                  <c:v>12-Oct</c:v>
                </c:pt>
                <c:pt idx="58">
                  <c:v>12-Nov</c:v>
                </c:pt>
                <c:pt idx="59">
                  <c:v>12-Dec</c:v>
                </c:pt>
                <c:pt idx="60">
                  <c:v>2013</c:v>
                </c:pt>
                <c:pt idx="61">
                  <c:v>13-Feb</c:v>
                </c:pt>
                <c:pt idx="62">
                  <c:v>13-Mar</c:v>
                </c:pt>
                <c:pt idx="63">
                  <c:v>13-Apr</c:v>
                </c:pt>
                <c:pt idx="64">
                  <c:v>13-May</c:v>
                </c:pt>
                <c:pt idx="65">
                  <c:v>13-Jun</c:v>
                </c:pt>
                <c:pt idx="66">
                  <c:v>13-Jul</c:v>
                </c:pt>
                <c:pt idx="67">
                  <c:v>13-Aug</c:v>
                </c:pt>
                <c:pt idx="68">
                  <c:v>13-Sep</c:v>
                </c:pt>
                <c:pt idx="69">
                  <c:v>13-Oct</c:v>
                </c:pt>
                <c:pt idx="70">
                  <c:v>13-Nov</c:v>
                </c:pt>
                <c:pt idx="71">
                  <c:v>13-Dec</c:v>
                </c:pt>
                <c:pt idx="72">
                  <c:v>2014</c:v>
                </c:pt>
                <c:pt idx="73">
                  <c:v>14-Feb</c:v>
                </c:pt>
                <c:pt idx="74">
                  <c:v>14-Mar</c:v>
                </c:pt>
                <c:pt idx="75">
                  <c:v>14-Apr</c:v>
                </c:pt>
                <c:pt idx="76">
                  <c:v>14-May</c:v>
                </c:pt>
                <c:pt idx="77">
                  <c:v>14-Jun</c:v>
                </c:pt>
                <c:pt idx="78">
                  <c:v>14-Jul</c:v>
                </c:pt>
                <c:pt idx="79">
                  <c:v>14-Aug</c:v>
                </c:pt>
                <c:pt idx="80">
                  <c:v>14-Sep</c:v>
                </c:pt>
                <c:pt idx="81">
                  <c:v>14-Oct</c:v>
                </c:pt>
                <c:pt idx="82">
                  <c:v>14-Nov</c:v>
                </c:pt>
                <c:pt idx="83">
                  <c:v>14-Dec</c:v>
                </c:pt>
                <c:pt idx="84">
                  <c:v>2015</c:v>
                </c:pt>
                <c:pt idx="85">
                  <c:v>15-Feb</c:v>
                </c:pt>
                <c:pt idx="86">
                  <c:v>15-Mar</c:v>
                </c:pt>
                <c:pt idx="87">
                  <c:v>15-Apr</c:v>
                </c:pt>
                <c:pt idx="88">
                  <c:v>15-May</c:v>
                </c:pt>
                <c:pt idx="89">
                  <c:v>15-Jun</c:v>
                </c:pt>
                <c:pt idx="90">
                  <c:v>15-Jul</c:v>
                </c:pt>
                <c:pt idx="91">
                  <c:v>15-Aug</c:v>
                </c:pt>
                <c:pt idx="92">
                  <c:v>15-Sep</c:v>
                </c:pt>
                <c:pt idx="93">
                  <c:v>15-Oct</c:v>
                </c:pt>
                <c:pt idx="94">
                  <c:v>15-Nov</c:v>
                </c:pt>
                <c:pt idx="95">
                  <c:v>15-Dec</c:v>
                </c:pt>
                <c:pt idx="96">
                  <c:v>2016</c:v>
                </c:pt>
                <c:pt idx="97">
                  <c:v>16-Feb</c:v>
                </c:pt>
                <c:pt idx="98">
                  <c:v>16-Mar</c:v>
                </c:pt>
                <c:pt idx="99">
                  <c:v>16-Apr</c:v>
                </c:pt>
                <c:pt idx="100">
                  <c:v>16-May</c:v>
                </c:pt>
                <c:pt idx="101">
                  <c:v>16-Jun</c:v>
                </c:pt>
                <c:pt idx="102">
                  <c:v>16-Jul</c:v>
                </c:pt>
                <c:pt idx="103">
                  <c:v>16-Aug</c:v>
                </c:pt>
                <c:pt idx="104">
                  <c:v>16-Sep</c:v>
                </c:pt>
                <c:pt idx="105">
                  <c:v>16-Oct</c:v>
                </c:pt>
                <c:pt idx="106">
                  <c:v>16-Nov</c:v>
                </c:pt>
                <c:pt idx="107">
                  <c:v>16-Dec</c:v>
                </c:pt>
                <c:pt idx="108">
                  <c:v>2017</c:v>
                </c:pt>
                <c:pt idx="109">
                  <c:v>17-Feb</c:v>
                </c:pt>
                <c:pt idx="110">
                  <c:v>17-Mar</c:v>
                </c:pt>
                <c:pt idx="111">
                  <c:v>17-Apr</c:v>
                </c:pt>
                <c:pt idx="112">
                  <c:v>17-May</c:v>
                </c:pt>
                <c:pt idx="113">
                  <c:v>17-Jun</c:v>
                </c:pt>
                <c:pt idx="114">
                  <c:v>17-Jul</c:v>
                </c:pt>
                <c:pt idx="115">
                  <c:v>17-Aug</c:v>
                </c:pt>
                <c:pt idx="116">
                  <c:v>17-Sep</c:v>
                </c:pt>
                <c:pt idx="117">
                  <c:v>17-Oct</c:v>
                </c:pt>
                <c:pt idx="118">
                  <c:v>17-Nov</c:v>
                </c:pt>
                <c:pt idx="119">
                  <c:v>17-Dec</c:v>
                </c:pt>
                <c:pt idx="120">
                  <c:v>2018</c:v>
                </c:pt>
                <c:pt idx="121">
                  <c:v>18-Feb</c:v>
                </c:pt>
                <c:pt idx="122">
                  <c:v>18-Mar</c:v>
                </c:pt>
                <c:pt idx="123">
                  <c:v>18-Apr</c:v>
                </c:pt>
                <c:pt idx="124">
                  <c:v>18-May</c:v>
                </c:pt>
                <c:pt idx="125">
                  <c:v>18-Jun</c:v>
                </c:pt>
                <c:pt idx="126">
                  <c:v>18-Jul</c:v>
                </c:pt>
                <c:pt idx="127">
                  <c:v>18-Aug</c:v>
                </c:pt>
                <c:pt idx="128">
                  <c:v>18-Sep</c:v>
                </c:pt>
                <c:pt idx="129">
                  <c:v>18-Oct</c:v>
                </c:pt>
                <c:pt idx="130">
                  <c:v>18-Nov</c:v>
                </c:pt>
                <c:pt idx="131">
                  <c:v>18-Dec</c:v>
                </c:pt>
                <c:pt idx="132">
                  <c:v>2019</c:v>
                </c:pt>
                <c:pt idx="133">
                  <c:v>19-Feb</c:v>
                </c:pt>
                <c:pt idx="134">
                  <c:v>19-Mar</c:v>
                </c:pt>
                <c:pt idx="135">
                  <c:v>19-Apr</c:v>
                </c:pt>
                <c:pt idx="136">
                  <c:v>19-May</c:v>
                </c:pt>
                <c:pt idx="137">
                  <c:v>19-Jun</c:v>
                </c:pt>
                <c:pt idx="138">
                  <c:v>19-Jul</c:v>
                </c:pt>
                <c:pt idx="139">
                  <c:v>19-Aug</c:v>
                </c:pt>
                <c:pt idx="140">
                  <c:v>19-Sep</c:v>
                </c:pt>
                <c:pt idx="141">
                  <c:v>19-Oct</c:v>
                </c:pt>
                <c:pt idx="142">
                  <c:v>19-Nov</c:v>
                </c:pt>
                <c:pt idx="143">
                  <c:v>19-Dec</c:v>
                </c:pt>
                <c:pt idx="144">
                  <c:v>2020</c:v>
                </c:pt>
                <c:pt idx="145">
                  <c:v>20-Feb</c:v>
                </c:pt>
                <c:pt idx="146">
                  <c:v>20-Mar</c:v>
                </c:pt>
                <c:pt idx="147">
                  <c:v>20-Apr</c:v>
                </c:pt>
                <c:pt idx="148">
                  <c:v>20-May</c:v>
                </c:pt>
                <c:pt idx="149">
                  <c:v>20-Jun</c:v>
                </c:pt>
                <c:pt idx="150">
                  <c:v>20-Jul</c:v>
                </c:pt>
                <c:pt idx="151">
                  <c:v>20-Aug</c:v>
                </c:pt>
                <c:pt idx="152">
                  <c:v>20-Sep</c:v>
                </c:pt>
                <c:pt idx="153">
                  <c:v>20-Oct</c:v>
                </c:pt>
                <c:pt idx="154">
                  <c:v>20-Nov</c:v>
                </c:pt>
                <c:pt idx="155">
                  <c:v>20-Dec</c:v>
                </c:pt>
                <c:pt idx="156">
                  <c:v>2021</c:v>
                </c:pt>
                <c:pt idx="157">
                  <c:v>21-Feb</c:v>
                </c:pt>
                <c:pt idx="158">
                  <c:v>21-Mar</c:v>
                </c:pt>
                <c:pt idx="159">
                  <c:v>21-Apr</c:v>
                </c:pt>
                <c:pt idx="160">
                  <c:v>21-May</c:v>
                </c:pt>
                <c:pt idx="161">
                  <c:v>21-Jun</c:v>
                </c:pt>
                <c:pt idx="162">
                  <c:v>21-Jul</c:v>
                </c:pt>
                <c:pt idx="163">
                  <c:v>21-Aug</c:v>
                </c:pt>
                <c:pt idx="164">
                  <c:v>21-Sep</c:v>
                </c:pt>
                <c:pt idx="165">
                  <c:v>21-Oct</c:v>
                </c:pt>
                <c:pt idx="166">
                  <c:v>21-Nov</c:v>
                </c:pt>
                <c:pt idx="167">
                  <c:v>21-Dec</c:v>
                </c:pt>
                <c:pt idx="168">
                  <c:v>2022</c:v>
                </c:pt>
                <c:pt idx="169">
                  <c:v>22-Feb</c:v>
                </c:pt>
                <c:pt idx="170">
                  <c:v>22-Mar</c:v>
                </c:pt>
                <c:pt idx="171">
                  <c:v>22-Apr</c:v>
                </c:pt>
                <c:pt idx="172">
                  <c:v>22-May</c:v>
                </c:pt>
                <c:pt idx="173">
                  <c:v>22-Jun</c:v>
                </c:pt>
                <c:pt idx="174">
                  <c:v>22-Jul</c:v>
                </c:pt>
                <c:pt idx="175">
                  <c:v>22-Aug</c:v>
                </c:pt>
                <c:pt idx="176">
                  <c:v>22-Sep</c:v>
                </c:pt>
                <c:pt idx="177">
                  <c:v>22-Oct</c:v>
                </c:pt>
                <c:pt idx="178">
                  <c:v>22-Nov</c:v>
                </c:pt>
                <c:pt idx="179">
                  <c:v>22-Dec</c:v>
                </c:pt>
                <c:pt idx="180">
                  <c:v>2023</c:v>
                </c:pt>
                <c:pt idx="181">
                  <c:v>23-Feb</c:v>
                </c:pt>
                <c:pt idx="182">
                  <c:v>23-Mar</c:v>
                </c:pt>
                <c:pt idx="183">
                  <c:v>23-Apr</c:v>
                </c:pt>
                <c:pt idx="184">
                  <c:v>23-May</c:v>
                </c:pt>
                <c:pt idx="185">
                  <c:v>23-Jun</c:v>
                </c:pt>
              </c:strCache>
            </c:strRef>
          </c:cat>
          <c:val>
            <c:numRef>
              <c:f>NonstoreRetailVOther!$D$2:$D$188</c:f>
              <c:numCache>
                <c:formatCode>"$"#,##0_);[Red]\("$"#,##0\)</c:formatCode>
                <c:ptCount val="187"/>
                <c:pt idx="0">
                  <c:v>48951</c:v>
                </c:pt>
                <c:pt idx="1">
                  <c:v>48927</c:v>
                </c:pt>
                <c:pt idx="2">
                  <c:v>48990</c:v>
                </c:pt>
                <c:pt idx="3">
                  <c:v>49433</c:v>
                </c:pt>
                <c:pt idx="4">
                  <c:v>50375</c:v>
                </c:pt>
                <c:pt idx="5">
                  <c:v>50762</c:v>
                </c:pt>
                <c:pt idx="6">
                  <c:v>50582</c:v>
                </c:pt>
                <c:pt idx="7">
                  <c:v>50131</c:v>
                </c:pt>
                <c:pt idx="8">
                  <c:v>49436</c:v>
                </c:pt>
                <c:pt idx="9">
                  <c:v>49260</c:v>
                </c:pt>
                <c:pt idx="10">
                  <c:v>49464</c:v>
                </c:pt>
                <c:pt idx="11">
                  <c:v>48906</c:v>
                </c:pt>
                <c:pt idx="12">
                  <c:v>49288</c:v>
                </c:pt>
                <c:pt idx="13">
                  <c:v>49199</c:v>
                </c:pt>
                <c:pt idx="14">
                  <c:v>48840</c:v>
                </c:pt>
                <c:pt idx="15">
                  <c:v>48887</c:v>
                </c:pt>
                <c:pt idx="16">
                  <c:v>49085</c:v>
                </c:pt>
                <c:pt idx="17">
                  <c:v>48792</c:v>
                </c:pt>
                <c:pt idx="18">
                  <c:v>48812</c:v>
                </c:pt>
                <c:pt idx="19">
                  <c:v>48934</c:v>
                </c:pt>
                <c:pt idx="20">
                  <c:v>49220</c:v>
                </c:pt>
                <c:pt idx="21">
                  <c:v>49725</c:v>
                </c:pt>
                <c:pt idx="22">
                  <c:v>49156</c:v>
                </c:pt>
                <c:pt idx="23">
                  <c:v>49657</c:v>
                </c:pt>
                <c:pt idx="24">
                  <c:v>49814</c:v>
                </c:pt>
                <c:pt idx="25">
                  <c:v>50490</c:v>
                </c:pt>
                <c:pt idx="26">
                  <c:v>50023</c:v>
                </c:pt>
                <c:pt idx="27">
                  <c:v>50586</c:v>
                </c:pt>
                <c:pt idx="28">
                  <c:v>49957</c:v>
                </c:pt>
                <c:pt idx="29">
                  <c:v>49950</c:v>
                </c:pt>
                <c:pt idx="30">
                  <c:v>49816</c:v>
                </c:pt>
                <c:pt idx="31">
                  <c:v>50116</c:v>
                </c:pt>
                <c:pt idx="32">
                  <c:v>50208</c:v>
                </c:pt>
                <c:pt idx="33">
                  <c:v>50235</c:v>
                </c:pt>
                <c:pt idx="34">
                  <c:v>51313</c:v>
                </c:pt>
                <c:pt idx="35">
                  <c:v>50896</c:v>
                </c:pt>
                <c:pt idx="36">
                  <c:v>50834</c:v>
                </c:pt>
                <c:pt idx="37">
                  <c:v>51466</c:v>
                </c:pt>
                <c:pt idx="38">
                  <c:v>51593</c:v>
                </c:pt>
                <c:pt idx="39">
                  <c:v>51965</c:v>
                </c:pt>
                <c:pt idx="40">
                  <c:v>51680</c:v>
                </c:pt>
                <c:pt idx="41">
                  <c:v>52351</c:v>
                </c:pt>
                <c:pt idx="42">
                  <c:v>52069</c:v>
                </c:pt>
                <c:pt idx="43">
                  <c:v>52084</c:v>
                </c:pt>
                <c:pt idx="44">
                  <c:v>52503</c:v>
                </c:pt>
                <c:pt idx="45">
                  <c:v>52396</c:v>
                </c:pt>
                <c:pt idx="46">
                  <c:v>52647</c:v>
                </c:pt>
                <c:pt idx="47">
                  <c:v>52399</c:v>
                </c:pt>
                <c:pt idx="48">
                  <c:v>53057</c:v>
                </c:pt>
                <c:pt idx="49">
                  <c:v>53916</c:v>
                </c:pt>
                <c:pt idx="50">
                  <c:v>53592</c:v>
                </c:pt>
                <c:pt idx="51">
                  <c:v>53213</c:v>
                </c:pt>
                <c:pt idx="52">
                  <c:v>53101</c:v>
                </c:pt>
                <c:pt idx="53">
                  <c:v>53114</c:v>
                </c:pt>
                <c:pt idx="54">
                  <c:v>53191</c:v>
                </c:pt>
                <c:pt idx="55">
                  <c:v>53485</c:v>
                </c:pt>
                <c:pt idx="56">
                  <c:v>53413</c:v>
                </c:pt>
                <c:pt idx="57">
                  <c:v>53629</c:v>
                </c:pt>
                <c:pt idx="58">
                  <c:v>53401</c:v>
                </c:pt>
                <c:pt idx="59">
                  <c:v>53606</c:v>
                </c:pt>
                <c:pt idx="60">
                  <c:v>54067</c:v>
                </c:pt>
                <c:pt idx="61">
                  <c:v>54497</c:v>
                </c:pt>
                <c:pt idx="62">
                  <c:v>54171</c:v>
                </c:pt>
                <c:pt idx="63">
                  <c:v>54127</c:v>
                </c:pt>
                <c:pt idx="64">
                  <c:v>54453</c:v>
                </c:pt>
                <c:pt idx="65">
                  <c:v>54396</c:v>
                </c:pt>
                <c:pt idx="66">
                  <c:v>54590</c:v>
                </c:pt>
                <c:pt idx="67">
                  <c:v>54355</c:v>
                </c:pt>
                <c:pt idx="68">
                  <c:v>54855</c:v>
                </c:pt>
                <c:pt idx="69">
                  <c:v>54885</c:v>
                </c:pt>
                <c:pt idx="70">
                  <c:v>54764</c:v>
                </c:pt>
                <c:pt idx="71">
                  <c:v>54627</c:v>
                </c:pt>
                <c:pt idx="72">
                  <c:v>54548</c:v>
                </c:pt>
                <c:pt idx="73">
                  <c:v>55363</c:v>
                </c:pt>
                <c:pt idx="74">
                  <c:v>55481</c:v>
                </c:pt>
                <c:pt idx="75">
                  <c:v>55915</c:v>
                </c:pt>
                <c:pt idx="76">
                  <c:v>55947</c:v>
                </c:pt>
                <c:pt idx="77">
                  <c:v>55907</c:v>
                </c:pt>
                <c:pt idx="78">
                  <c:v>56042</c:v>
                </c:pt>
                <c:pt idx="79">
                  <c:v>56272</c:v>
                </c:pt>
                <c:pt idx="80">
                  <c:v>56100</c:v>
                </c:pt>
                <c:pt idx="81">
                  <c:v>56271</c:v>
                </c:pt>
                <c:pt idx="82">
                  <c:v>56326</c:v>
                </c:pt>
                <c:pt idx="83">
                  <c:v>56385</c:v>
                </c:pt>
                <c:pt idx="84">
                  <c:v>56437</c:v>
                </c:pt>
                <c:pt idx="85">
                  <c:v>56119</c:v>
                </c:pt>
                <c:pt idx="86">
                  <c:v>56294</c:v>
                </c:pt>
                <c:pt idx="87">
                  <c:v>56226</c:v>
                </c:pt>
                <c:pt idx="88">
                  <c:v>56742</c:v>
                </c:pt>
                <c:pt idx="89">
                  <c:v>56561</c:v>
                </c:pt>
                <c:pt idx="90">
                  <c:v>56900</c:v>
                </c:pt>
                <c:pt idx="91">
                  <c:v>56923</c:v>
                </c:pt>
                <c:pt idx="92">
                  <c:v>56851</c:v>
                </c:pt>
                <c:pt idx="93">
                  <c:v>56792</c:v>
                </c:pt>
                <c:pt idx="94">
                  <c:v>56989</c:v>
                </c:pt>
                <c:pt idx="95">
                  <c:v>57261</c:v>
                </c:pt>
                <c:pt idx="96">
                  <c:v>56250</c:v>
                </c:pt>
                <c:pt idx="97">
                  <c:v>57187</c:v>
                </c:pt>
                <c:pt idx="98">
                  <c:v>57032</c:v>
                </c:pt>
                <c:pt idx="99">
                  <c:v>56866</c:v>
                </c:pt>
                <c:pt idx="100">
                  <c:v>56584</c:v>
                </c:pt>
                <c:pt idx="101">
                  <c:v>57149</c:v>
                </c:pt>
                <c:pt idx="102">
                  <c:v>56813</c:v>
                </c:pt>
                <c:pt idx="103">
                  <c:v>56938</c:v>
                </c:pt>
                <c:pt idx="104">
                  <c:v>56140</c:v>
                </c:pt>
                <c:pt idx="105">
                  <c:v>56836</c:v>
                </c:pt>
                <c:pt idx="106">
                  <c:v>56695</c:v>
                </c:pt>
                <c:pt idx="107">
                  <c:v>56501</c:v>
                </c:pt>
                <c:pt idx="108">
                  <c:v>57617</c:v>
                </c:pt>
                <c:pt idx="109">
                  <c:v>57060</c:v>
                </c:pt>
                <c:pt idx="110">
                  <c:v>57349</c:v>
                </c:pt>
                <c:pt idx="111">
                  <c:v>57487</c:v>
                </c:pt>
                <c:pt idx="112">
                  <c:v>56501</c:v>
                </c:pt>
                <c:pt idx="113">
                  <c:v>57650</c:v>
                </c:pt>
                <c:pt idx="114">
                  <c:v>57362</c:v>
                </c:pt>
                <c:pt idx="115">
                  <c:v>57558</c:v>
                </c:pt>
                <c:pt idx="116">
                  <c:v>58179</c:v>
                </c:pt>
                <c:pt idx="117">
                  <c:v>57936</c:v>
                </c:pt>
                <c:pt idx="118">
                  <c:v>58296</c:v>
                </c:pt>
                <c:pt idx="119">
                  <c:v>58686</c:v>
                </c:pt>
                <c:pt idx="120">
                  <c:v>58455</c:v>
                </c:pt>
                <c:pt idx="121">
                  <c:v>58745</c:v>
                </c:pt>
                <c:pt idx="122">
                  <c:v>58076</c:v>
                </c:pt>
                <c:pt idx="123">
                  <c:v>58026</c:v>
                </c:pt>
                <c:pt idx="124">
                  <c:v>59500</c:v>
                </c:pt>
                <c:pt idx="125">
                  <c:v>58555</c:v>
                </c:pt>
                <c:pt idx="126">
                  <c:v>58922</c:v>
                </c:pt>
                <c:pt idx="127">
                  <c:v>59001</c:v>
                </c:pt>
                <c:pt idx="128">
                  <c:v>58933</c:v>
                </c:pt>
                <c:pt idx="129">
                  <c:v>59325</c:v>
                </c:pt>
                <c:pt idx="130">
                  <c:v>59995</c:v>
                </c:pt>
                <c:pt idx="131">
                  <c:v>59549</c:v>
                </c:pt>
                <c:pt idx="132">
                  <c:v>59462</c:v>
                </c:pt>
                <c:pt idx="133">
                  <c:v>58801</c:v>
                </c:pt>
                <c:pt idx="134">
                  <c:v>59671</c:v>
                </c:pt>
                <c:pt idx="135">
                  <c:v>59543</c:v>
                </c:pt>
                <c:pt idx="136">
                  <c:v>59306</c:v>
                </c:pt>
                <c:pt idx="137">
                  <c:v>59455</c:v>
                </c:pt>
                <c:pt idx="138">
                  <c:v>60242</c:v>
                </c:pt>
                <c:pt idx="139">
                  <c:v>59896</c:v>
                </c:pt>
                <c:pt idx="140">
                  <c:v>59400</c:v>
                </c:pt>
                <c:pt idx="141">
                  <c:v>59692</c:v>
                </c:pt>
                <c:pt idx="142">
                  <c:v>60350</c:v>
                </c:pt>
                <c:pt idx="143">
                  <c:v>60269</c:v>
                </c:pt>
                <c:pt idx="144">
                  <c:v>60511</c:v>
                </c:pt>
                <c:pt idx="145">
                  <c:v>60843</c:v>
                </c:pt>
                <c:pt idx="146">
                  <c:v>62671</c:v>
                </c:pt>
                <c:pt idx="147">
                  <c:v>55886</c:v>
                </c:pt>
                <c:pt idx="148">
                  <c:v>60881</c:v>
                </c:pt>
                <c:pt idx="149">
                  <c:v>61594</c:v>
                </c:pt>
                <c:pt idx="150">
                  <c:v>61404</c:v>
                </c:pt>
                <c:pt idx="151">
                  <c:v>60222</c:v>
                </c:pt>
                <c:pt idx="152">
                  <c:v>62044</c:v>
                </c:pt>
                <c:pt idx="153">
                  <c:v>61251</c:v>
                </c:pt>
                <c:pt idx="154">
                  <c:v>60726</c:v>
                </c:pt>
                <c:pt idx="155">
                  <c:v>61068</c:v>
                </c:pt>
                <c:pt idx="156">
                  <c:v>65118</c:v>
                </c:pt>
                <c:pt idx="157">
                  <c:v>61935</c:v>
                </c:pt>
                <c:pt idx="158">
                  <c:v>66688</c:v>
                </c:pt>
                <c:pt idx="159">
                  <c:v>67331</c:v>
                </c:pt>
                <c:pt idx="160">
                  <c:v>66599</c:v>
                </c:pt>
                <c:pt idx="161">
                  <c:v>66148</c:v>
                </c:pt>
                <c:pt idx="162">
                  <c:v>66304</c:v>
                </c:pt>
                <c:pt idx="163">
                  <c:v>66797</c:v>
                </c:pt>
                <c:pt idx="164">
                  <c:v>66898</c:v>
                </c:pt>
                <c:pt idx="165">
                  <c:v>67724</c:v>
                </c:pt>
                <c:pt idx="166">
                  <c:v>67603</c:v>
                </c:pt>
                <c:pt idx="167">
                  <c:v>67924</c:v>
                </c:pt>
                <c:pt idx="168">
                  <c:v>68245</c:v>
                </c:pt>
                <c:pt idx="169">
                  <c:v>68961</c:v>
                </c:pt>
                <c:pt idx="170">
                  <c:v>69631</c:v>
                </c:pt>
                <c:pt idx="171">
                  <c:v>70621</c:v>
                </c:pt>
                <c:pt idx="172">
                  <c:v>71095</c:v>
                </c:pt>
                <c:pt idx="173">
                  <c:v>71980</c:v>
                </c:pt>
                <c:pt idx="174">
                  <c:v>71294</c:v>
                </c:pt>
                <c:pt idx="175">
                  <c:v>71729</c:v>
                </c:pt>
                <c:pt idx="176">
                  <c:v>72411</c:v>
                </c:pt>
                <c:pt idx="177">
                  <c:v>72142</c:v>
                </c:pt>
                <c:pt idx="178">
                  <c:v>72132</c:v>
                </c:pt>
                <c:pt idx="179">
                  <c:v>72193</c:v>
                </c:pt>
                <c:pt idx="180">
                  <c:v>73572</c:v>
                </c:pt>
                <c:pt idx="181">
                  <c:v>73505</c:v>
                </c:pt>
                <c:pt idx="182">
                  <c:v>71641</c:v>
                </c:pt>
                <c:pt idx="183">
                  <c:v>72208</c:v>
                </c:pt>
                <c:pt idx="184">
                  <c:v>72417</c:v>
                </c:pt>
                <c:pt idx="185">
                  <c:v>7231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32-42DF-8931-A03A2C2BB80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ax val="12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Billions</a:t>
                </a:r>
              </a:p>
            </c:rich>
          </c:tx>
          <c:layout>
            <c:manualLayout>
              <c:xMode val="edge"/>
              <c:yMode val="edge"/>
              <c:x val="0"/>
              <c:y val="0.444531796806649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dispUnits>
          <c:builtInUnit val="thousands"/>
        </c:dispUnits>
      </c:valAx>
      <c:spPr>
        <a:noFill/>
        <a:ln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9.4919448536580797E-2"/>
          <c:y val="0.10111867987691983"/>
          <c:w val="0.55348900680893154"/>
          <c:h val="7.3754349064211078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  <c:userShapes r:id="rId4"/>
</c:chartSpace>
</file>

<file path=ppt/charts/chart1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ysClr val="windowText" lastClr="000000"/>
                </a:solidFill>
              </a:rPr>
              <a:t>Personal</a:t>
            </a:r>
            <a:r>
              <a:rPr lang="en-US" sz="1400" baseline="0" dirty="0">
                <a:solidFill>
                  <a:sysClr val="windowText" lastClr="000000"/>
                </a:solidFill>
              </a:rPr>
              <a:t> consumption expenditures, </a:t>
            </a:r>
            <a:r>
              <a:rPr lang="en-US" sz="1400" b="1" u="sng" baseline="0" dirty="0">
                <a:solidFill>
                  <a:sysClr val="windowText" lastClr="000000"/>
                </a:solidFill>
              </a:rPr>
              <a:t>chained 2017 dollars</a:t>
            </a:r>
            <a:r>
              <a:rPr lang="en-US" sz="1400" baseline="0" dirty="0">
                <a:solidFill>
                  <a:sysClr val="windowText" lastClr="000000"/>
                </a:solidFill>
              </a:rPr>
              <a:t>, SAAR</a:t>
            </a:r>
            <a:endParaRPr lang="en-US" sz="1400" dirty="0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0.12048970524906039"/>
          <c:y val="4.166666666666666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2146723874758471"/>
          <c:y val="7.7772528433945762E-2"/>
          <c:w val="0.84285863656553039"/>
          <c:h val="0.7561898512685914"/>
        </c:manualLayout>
      </c:layout>
      <c:lineChart>
        <c:grouping val="standard"/>
        <c:varyColors val="0"/>
        <c:ser>
          <c:idx val="0"/>
          <c:order val="0"/>
          <c:tx>
            <c:strRef>
              <c:f>'GoodsVServices-Real'!$J$1</c:f>
              <c:strCache>
                <c:ptCount val="1"/>
                <c:pt idx="0">
                  <c:v> Goods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GoodsVServices-Real'!$C$62:$C$164</c:f>
              <c:strCache>
                <c:ptCount val="103"/>
                <c:pt idx="0">
                  <c:v>2015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2016</c:v>
                </c:pt>
                <c:pt idx="13">
                  <c:v>FEB</c:v>
                </c:pt>
                <c:pt idx="14">
                  <c:v>MAR</c:v>
                </c:pt>
                <c:pt idx="15">
                  <c:v>APR</c:v>
                </c:pt>
                <c:pt idx="16">
                  <c:v>MAY</c:v>
                </c:pt>
                <c:pt idx="17">
                  <c:v>JUN</c:v>
                </c:pt>
                <c:pt idx="18">
                  <c:v>JUL</c:v>
                </c:pt>
                <c:pt idx="19">
                  <c:v>AUG</c:v>
                </c:pt>
                <c:pt idx="20">
                  <c:v>SEP</c:v>
                </c:pt>
                <c:pt idx="21">
                  <c:v>OCT</c:v>
                </c:pt>
                <c:pt idx="22">
                  <c:v>NOV</c:v>
                </c:pt>
                <c:pt idx="23">
                  <c:v>DEC</c:v>
                </c:pt>
                <c:pt idx="24">
                  <c:v>2017</c:v>
                </c:pt>
                <c:pt idx="25">
                  <c:v>FEB</c:v>
                </c:pt>
                <c:pt idx="26">
                  <c:v>MAR</c:v>
                </c:pt>
                <c:pt idx="27">
                  <c:v>APR</c:v>
                </c:pt>
                <c:pt idx="28">
                  <c:v>MAY</c:v>
                </c:pt>
                <c:pt idx="29">
                  <c:v>JUN</c:v>
                </c:pt>
                <c:pt idx="30">
                  <c:v>JUL</c:v>
                </c:pt>
                <c:pt idx="31">
                  <c:v>AUG</c:v>
                </c:pt>
                <c:pt idx="32">
                  <c:v>SEP</c:v>
                </c:pt>
                <c:pt idx="33">
                  <c:v>OCT</c:v>
                </c:pt>
                <c:pt idx="34">
                  <c:v>NOV</c:v>
                </c:pt>
                <c:pt idx="35">
                  <c:v>DEC</c:v>
                </c:pt>
                <c:pt idx="36">
                  <c:v>2018</c:v>
                </c:pt>
                <c:pt idx="37">
                  <c:v>FEB</c:v>
                </c:pt>
                <c:pt idx="38">
                  <c:v>MAR</c:v>
                </c:pt>
                <c:pt idx="39">
                  <c:v>APR</c:v>
                </c:pt>
                <c:pt idx="40">
                  <c:v>MAY</c:v>
                </c:pt>
                <c:pt idx="41">
                  <c:v>JUN</c:v>
                </c:pt>
                <c:pt idx="42">
                  <c:v>JUL</c:v>
                </c:pt>
                <c:pt idx="43">
                  <c:v>AUG</c:v>
                </c:pt>
                <c:pt idx="44">
                  <c:v>SEP</c:v>
                </c:pt>
                <c:pt idx="45">
                  <c:v>OCT</c:v>
                </c:pt>
                <c:pt idx="46">
                  <c:v>NOV</c:v>
                </c:pt>
                <c:pt idx="47">
                  <c:v>DEC</c:v>
                </c:pt>
                <c:pt idx="48">
                  <c:v>2019</c:v>
                </c:pt>
                <c:pt idx="49">
                  <c:v>FEB</c:v>
                </c:pt>
                <c:pt idx="50">
                  <c:v>MAR</c:v>
                </c:pt>
                <c:pt idx="51">
                  <c:v>APR</c:v>
                </c:pt>
                <c:pt idx="52">
                  <c:v>MAY</c:v>
                </c:pt>
                <c:pt idx="53">
                  <c:v>JUN</c:v>
                </c:pt>
                <c:pt idx="54">
                  <c:v>JUL</c:v>
                </c:pt>
                <c:pt idx="55">
                  <c:v>AUG</c:v>
                </c:pt>
                <c:pt idx="56">
                  <c:v>SEP</c:v>
                </c:pt>
                <c:pt idx="57">
                  <c:v>OCT</c:v>
                </c:pt>
                <c:pt idx="58">
                  <c:v>NOV</c:v>
                </c:pt>
                <c:pt idx="59">
                  <c:v>DEC</c:v>
                </c:pt>
                <c:pt idx="60">
                  <c:v>2020</c:v>
                </c:pt>
                <c:pt idx="61">
                  <c:v>FEB</c:v>
                </c:pt>
                <c:pt idx="62">
                  <c:v>MAR</c:v>
                </c:pt>
                <c:pt idx="63">
                  <c:v>APR</c:v>
                </c:pt>
                <c:pt idx="64">
                  <c:v>MAY</c:v>
                </c:pt>
                <c:pt idx="65">
                  <c:v>JUN</c:v>
                </c:pt>
                <c:pt idx="66">
                  <c:v>JUL</c:v>
                </c:pt>
                <c:pt idx="67">
                  <c:v>AUG</c:v>
                </c:pt>
                <c:pt idx="68">
                  <c:v>SEP</c:v>
                </c:pt>
                <c:pt idx="69">
                  <c:v>OCT</c:v>
                </c:pt>
                <c:pt idx="70">
                  <c:v>NOV</c:v>
                </c:pt>
                <c:pt idx="71">
                  <c:v>DEC</c:v>
                </c:pt>
                <c:pt idx="72">
                  <c:v>2021</c:v>
                </c:pt>
                <c:pt idx="73">
                  <c:v>FEB</c:v>
                </c:pt>
                <c:pt idx="74">
                  <c:v>MAR</c:v>
                </c:pt>
                <c:pt idx="75">
                  <c:v>APR</c:v>
                </c:pt>
                <c:pt idx="76">
                  <c:v>MAY</c:v>
                </c:pt>
                <c:pt idx="77">
                  <c:v>JUN</c:v>
                </c:pt>
                <c:pt idx="78">
                  <c:v>JUL</c:v>
                </c:pt>
                <c:pt idx="79">
                  <c:v>AUG</c:v>
                </c:pt>
                <c:pt idx="80">
                  <c:v>SEP</c:v>
                </c:pt>
                <c:pt idx="81">
                  <c:v>OCT</c:v>
                </c:pt>
                <c:pt idx="82">
                  <c:v>NOV</c:v>
                </c:pt>
                <c:pt idx="83">
                  <c:v>DEC</c:v>
                </c:pt>
                <c:pt idx="84">
                  <c:v>2022</c:v>
                </c:pt>
                <c:pt idx="85">
                  <c:v>FEB</c:v>
                </c:pt>
                <c:pt idx="86">
                  <c:v>MAR</c:v>
                </c:pt>
                <c:pt idx="87">
                  <c:v>APR</c:v>
                </c:pt>
                <c:pt idx="88">
                  <c:v>MAY</c:v>
                </c:pt>
                <c:pt idx="89">
                  <c:v>JUN</c:v>
                </c:pt>
                <c:pt idx="90">
                  <c:v>JUL</c:v>
                </c:pt>
                <c:pt idx="91">
                  <c:v>AUG</c:v>
                </c:pt>
                <c:pt idx="92">
                  <c:v>SEP</c:v>
                </c:pt>
                <c:pt idx="93">
                  <c:v>OCT</c:v>
                </c:pt>
                <c:pt idx="94">
                  <c:v>NOV</c:v>
                </c:pt>
                <c:pt idx="95">
                  <c:v>DEC</c:v>
                </c:pt>
                <c:pt idx="96">
                  <c:v>2023</c:v>
                </c:pt>
                <c:pt idx="97">
                  <c:v>FEB</c:v>
                </c:pt>
                <c:pt idx="98">
                  <c:v>MAR</c:v>
                </c:pt>
                <c:pt idx="99">
                  <c:v>APR</c:v>
                </c:pt>
                <c:pt idx="100">
                  <c:v>MAY</c:v>
                </c:pt>
                <c:pt idx="101">
                  <c:v>JUN</c:v>
                </c:pt>
                <c:pt idx="102">
                  <c:v>JUL</c:v>
                </c:pt>
              </c:strCache>
            </c:strRef>
          </c:cat>
          <c:val>
            <c:numRef>
              <c:f>'GoodsVServices-Real'!$J$62:$J$164</c:f>
              <c:numCache>
                <c:formatCode>"$"#,##0.0000</c:formatCode>
                <c:ptCount val="103"/>
                <c:pt idx="0">
                  <c:v>3.8281000000000001</c:v>
                </c:pt>
                <c:pt idx="1">
                  <c:v>3.8359000000000001</c:v>
                </c:pt>
                <c:pt idx="2">
                  <c:v>3.8709000000000002</c:v>
                </c:pt>
                <c:pt idx="3">
                  <c:v>3.8741999999999996</c:v>
                </c:pt>
                <c:pt idx="4">
                  <c:v>3.8919999999999999</c:v>
                </c:pt>
                <c:pt idx="5">
                  <c:v>3.8921999999999999</c:v>
                </c:pt>
                <c:pt idx="6">
                  <c:v>3.9200999999999997</c:v>
                </c:pt>
                <c:pt idx="7">
                  <c:v>3.9344000000000001</c:v>
                </c:pt>
                <c:pt idx="8">
                  <c:v>3.9360999999999997</c:v>
                </c:pt>
                <c:pt idx="9">
                  <c:v>3.9223000000000003</c:v>
                </c:pt>
                <c:pt idx="10">
                  <c:v>3.9540999999999999</c:v>
                </c:pt>
                <c:pt idx="11">
                  <c:v>3.9691999999999998</c:v>
                </c:pt>
                <c:pt idx="12">
                  <c:v>3.968</c:v>
                </c:pt>
                <c:pt idx="13">
                  <c:v>4.0139000000000005</c:v>
                </c:pt>
                <c:pt idx="14">
                  <c:v>3.9903000000000004</c:v>
                </c:pt>
                <c:pt idx="15">
                  <c:v>3.9990999999999999</c:v>
                </c:pt>
                <c:pt idx="16">
                  <c:v>4.0170000000000003</c:v>
                </c:pt>
                <c:pt idx="17">
                  <c:v>4.0602</c:v>
                </c:pt>
                <c:pt idx="18">
                  <c:v>4.0629</c:v>
                </c:pt>
                <c:pt idx="19">
                  <c:v>4.0673000000000004</c:v>
                </c:pt>
                <c:pt idx="20">
                  <c:v>4.0750999999999999</c:v>
                </c:pt>
                <c:pt idx="21">
                  <c:v>4.0785</c:v>
                </c:pt>
                <c:pt idx="22">
                  <c:v>4.0723000000000003</c:v>
                </c:pt>
                <c:pt idx="23">
                  <c:v>4.1322000000000001</c:v>
                </c:pt>
                <c:pt idx="24">
                  <c:v>4.1201000000000008</c:v>
                </c:pt>
                <c:pt idx="25">
                  <c:v>4.1333000000000002</c:v>
                </c:pt>
                <c:pt idx="26">
                  <c:v>4.1402000000000001</c:v>
                </c:pt>
                <c:pt idx="27">
                  <c:v>4.1638000000000002</c:v>
                </c:pt>
                <c:pt idx="28">
                  <c:v>4.1619999999999999</c:v>
                </c:pt>
                <c:pt idx="29">
                  <c:v>4.1993999999999998</c:v>
                </c:pt>
                <c:pt idx="30">
                  <c:v>4.2043999999999997</c:v>
                </c:pt>
                <c:pt idx="31">
                  <c:v>4.2091000000000003</c:v>
                </c:pt>
                <c:pt idx="32">
                  <c:v>4.2671000000000001</c:v>
                </c:pt>
                <c:pt idx="33">
                  <c:v>4.2653999999999996</c:v>
                </c:pt>
                <c:pt idx="34">
                  <c:v>4.3126000000000007</c:v>
                </c:pt>
                <c:pt idx="35">
                  <c:v>4.3692000000000002</c:v>
                </c:pt>
                <c:pt idx="36">
                  <c:v>4.3518999999999997</c:v>
                </c:pt>
                <c:pt idx="37">
                  <c:v>4.3601999999999999</c:v>
                </c:pt>
                <c:pt idx="38">
                  <c:v>4.3540000000000001</c:v>
                </c:pt>
                <c:pt idx="39">
                  <c:v>4.3431999999999995</c:v>
                </c:pt>
                <c:pt idx="40">
                  <c:v>4.3908000000000005</c:v>
                </c:pt>
                <c:pt idx="41">
                  <c:v>4.3631000000000002</c:v>
                </c:pt>
                <c:pt idx="42">
                  <c:v>4.3816999999999995</c:v>
                </c:pt>
                <c:pt idx="43">
                  <c:v>4.3933</c:v>
                </c:pt>
                <c:pt idx="44">
                  <c:v>4.3818000000000001</c:v>
                </c:pt>
                <c:pt idx="45">
                  <c:v>4.3943999999999992</c:v>
                </c:pt>
                <c:pt idx="46">
                  <c:v>4.4658999999999995</c:v>
                </c:pt>
                <c:pt idx="47">
                  <c:v>4.3641999999999994</c:v>
                </c:pt>
                <c:pt idx="48">
                  <c:v>4.399</c:v>
                </c:pt>
                <c:pt idx="49">
                  <c:v>4.3983999999999996</c:v>
                </c:pt>
                <c:pt idx="50">
                  <c:v>4.4563999999999995</c:v>
                </c:pt>
                <c:pt idx="51">
                  <c:v>4.4568000000000003</c:v>
                </c:pt>
                <c:pt idx="52">
                  <c:v>4.4965999999999999</c:v>
                </c:pt>
                <c:pt idx="53">
                  <c:v>4.5194999999999999</c:v>
                </c:pt>
                <c:pt idx="54">
                  <c:v>4.5472000000000001</c:v>
                </c:pt>
                <c:pt idx="55">
                  <c:v>4.5609999999999999</c:v>
                </c:pt>
                <c:pt idx="56">
                  <c:v>4.5563000000000002</c:v>
                </c:pt>
                <c:pt idx="57">
                  <c:v>4.5451000000000006</c:v>
                </c:pt>
                <c:pt idx="58">
                  <c:v>4.5857999999999999</c:v>
                </c:pt>
                <c:pt idx="59">
                  <c:v>4.5968</c:v>
                </c:pt>
                <c:pt idx="60">
                  <c:v>4.5720000000000001</c:v>
                </c:pt>
                <c:pt idx="61">
                  <c:v>4.5823</c:v>
                </c:pt>
                <c:pt idx="62">
                  <c:v>4.5011999999999999</c:v>
                </c:pt>
                <c:pt idx="63">
                  <c:v>3.9621999999999997</c:v>
                </c:pt>
                <c:pt idx="64">
                  <c:v>4.5573999999999995</c:v>
                </c:pt>
                <c:pt idx="65">
                  <c:v>4.8310000000000004</c:v>
                </c:pt>
                <c:pt idx="66">
                  <c:v>4.9184999999999999</c:v>
                </c:pt>
                <c:pt idx="67">
                  <c:v>4.9051</c:v>
                </c:pt>
                <c:pt idx="68">
                  <c:v>4.9941000000000004</c:v>
                </c:pt>
                <c:pt idx="69">
                  <c:v>4.9746999999999995</c:v>
                </c:pt>
                <c:pt idx="70">
                  <c:v>4.9536000000000007</c:v>
                </c:pt>
                <c:pt idx="71">
                  <c:v>5.0066000000000006</c:v>
                </c:pt>
                <c:pt idx="72">
                  <c:v>5.1123000000000003</c:v>
                </c:pt>
                <c:pt idx="73">
                  <c:v>4.9851999999999999</c:v>
                </c:pt>
                <c:pt idx="74">
                  <c:v>5.4177</c:v>
                </c:pt>
                <c:pt idx="75">
                  <c:v>5.4203999999999999</c:v>
                </c:pt>
                <c:pt idx="76">
                  <c:v>5.3025000000000002</c:v>
                </c:pt>
                <c:pt idx="77">
                  <c:v>5.3323999999999998</c:v>
                </c:pt>
                <c:pt idx="78">
                  <c:v>5.2107000000000001</c:v>
                </c:pt>
                <c:pt idx="79">
                  <c:v>5.2416</c:v>
                </c:pt>
                <c:pt idx="80">
                  <c:v>5.2507000000000001</c:v>
                </c:pt>
                <c:pt idx="81">
                  <c:v>5.3173999999999992</c:v>
                </c:pt>
                <c:pt idx="82">
                  <c:v>5.3212000000000002</c:v>
                </c:pt>
                <c:pt idx="83">
                  <c:v>5.2782</c:v>
                </c:pt>
                <c:pt idx="84">
                  <c:v>5.3094999999999999</c:v>
                </c:pt>
                <c:pt idx="85">
                  <c:v>5.2711999999999994</c:v>
                </c:pt>
                <c:pt idx="86">
                  <c:v>5.2885</c:v>
                </c:pt>
                <c:pt idx="87">
                  <c:v>5.3148999999999997</c:v>
                </c:pt>
                <c:pt idx="88">
                  <c:v>5.2773999999999992</c:v>
                </c:pt>
                <c:pt idx="89">
                  <c:v>5.2637999999999998</c:v>
                </c:pt>
                <c:pt idx="90">
                  <c:v>5.2519999999999998</c:v>
                </c:pt>
                <c:pt idx="91">
                  <c:v>5.2751000000000001</c:v>
                </c:pt>
                <c:pt idx="92">
                  <c:v>5.2999000000000001</c:v>
                </c:pt>
                <c:pt idx="93">
                  <c:v>5.3170999999999999</c:v>
                </c:pt>
                <c:pt idx="94">
                  <c:v>5.2578999999999994</c:v>
                </c:pt>
                <c:pt idx="95">
                  <c:v>5.2504999999999997</c:v>
                </c:pt>
                <c:pt idx="96">
                  <c:v>5.3556999999999997</c:v>
                </c:pt>
                <c:pt idx="97">
                  <c:v>5.3601999999999999</c:v>
                </c:pt>
                <c:pt idx="98">
                  <c:v>5.3071999999999999</c:v>
                </c:pt>
                <c:pt idx="99">
                  <c:v>5.3363000000000005</c:v>
                </c:pt>
                <c:pt idx="100">
                  <c:v>5.3483999999999998</c:v>
                </c:pt>
                <c:pt idx="101">
                  <c:v>5.3571999999999997</c:v>
                </c:pt>
                <c:pt idx="102">
                  <c:v>5.39839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B707-48BD-8D66-6D400F36E3F5}"/>
            </c:ext>
          </c:extLst>
        </c:ser>
        <c:ser>
          <c:idx val="1"/>
          <c:order val="1"/>
          <c:tx>
            <c:strRef>
              <c:f>'GoodsVServices-Real'!$K$1</c:f>
              <c:strCache>
                <c:ptCount val="1"/>
                <c:pt idx="0">
                  <c:v> Services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GoodsVServices-Real'!$C$62:$C$164</c:f>
              <c:strCache>
                <c:ptCount val="103"/>
                <c:pt idx="0">
                  <c:v>2015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2016</c:v>
                </c:pt>
                <c:pt idx="13">
                  <c:v>FEB</c:v>
                </c:pt>
                <c:pt idx="14">
                  <c:v>MAR</c:v>
                </c:pt>
                <c:pt idx="15">
                  <c:v>APR</c:v>
                </c:pt>
                <c:pt idx="16">
                  <c:v>MAY</c:v>
                </c:pt>
                <c:pt idx="17">
                  <c:v>JUN</c:v>
                </c:pt>
                <c:pt idx="18">
                  <c:v>JUL</c:v>
                </c:pt>
                <c:pt idx="19">
                  <c:v>AUG</c:v>
                </c:pt>
                <c:pt idx="20">
                  <c:v>SEP</c:v>
                </c:pt>
                <c:pt idx="21">
                  <c:v>OCT</c:v>
                </c:pt>
                <c:pt idx="22">
                  <c:v>NOV</c:v>
                </c:pt>
                <c:pt idx="23">
                  <c:v>DEC</c:v>
                </c:pt>
                <c:pt idx="24">
                  <c:v>2017</c:v>
                </c:pt>
                <c:pt idx="25">
                  <c:v>FEB</c:v>
                </c:pt>
                <c:pt idx="26">
                  <c:v>MAR</c:v>
                </c:pt>
                <c:pt idx="27">
                  <c:v>APR</c:v>
                </c:pt>
                <c:pt idx="28">
                  <c:v>MAY</c:v>
                </c:pt>
                <c:pt idx="29">
                  <c:v>JUN</c:v>
                </c:pt>
                <c:pt idx="30">
                  <c:v>JUL</c:v>
                </c:pt>
                <c:pt idx="31">
                  <c:v>AUG</c:v>
                </c:pt>
                <c:pt idx="32">
                  <c:v>SEP</c:v>
                </c:pt>
                <c:pt idx="33">
                  <c:v>OCT</c:v>
                </c:pt>
                <c:pt idx="34">
                  <c:v>NOV</c:v>
                </c:pt>
                <c:pt idx="35">
                  <c:v>DEC</c:v>
                </c:pt>
                <c:pt idx="36">
                  <c:v>2018</c:v>
                </c:pt>
                <c:pt idx="37">
                  <c:v>FEB</c:v>
                </c:pt>
                <c:pt idx="38">
                  <c:v>MAR</c:v>
                </c:pt>
                <c:pt idx="39">
                  <c:v>APR</c:v>
                </c:pt>
                <c:pt idx="40">
                  <c:v>MAY</c:v>
                </c:pt>
                <c:pt idx="41">
                  <c:v>JUN</c:v>
                </c:pt>
                <c:pt idx="42">
                  <c:v>JUL</c:v>
                </c:pt>
                <c:pt idx="43">
                  <c:v>AUG</c:v>
                </c:pt>
                <c:pt idx="44">
                  <c:v>SEP</c:v>
                </c:pt>
                <c:pt idx="45">
                  <c:v>OCT</c:v>
                </c:pt>
                <c:pt idx="46">
                  <c:v>NOV</c:v>
                </c:pt>
                <c:pt idx="47">
                  <c:v>DEC</c:v>
                </c:pt>
                <c:pt idx="48">
                  <c:v>2019</c:v>
                </c:pt>
                <c:pt idx="49">
                  <c:v>FEB</c:v>
                </c:pt>
                <c:pt idx="50">
                  <c:v>MAR</c:v>
                </c:pt>
                <c:pt idx="51">
                  <c:v>APR</c:v>
                </c:pt>
                <c:pt idx="52">
                  <c:v>MAY</c:v>
                </c:pt>
                <c:pt idx="53">
                  <c:v>JUN</c:v>
                </c:pt>
                <c:pt idx="54">
                  <c:v>JUL</c:v>
                </c:pt>
                <c:pt idx="55">
                  <c:v>AUG</c:v>
                </c:pt>
                <c:pt idx="56">
                  <c:v>SEP</c:v>
                </c:pt>
                <c:pt idx="57">
                  <c:v>OCT</c:v>
                </c:pt>
                <c:pt idx="58">
                  <c:v>NOV</c:v>
                </c:pt>
                <c:pt idx="59">
                  <c:v>DEC</c:v>
                </c:pt>
                <c:pt idx="60">
                  <c:v>2020</c:v>
                </c:pt>
                <c:pt idx="61">
                  <c:v>FEB</c:v>
                </c:pt>
                <c:pt idx="62">
                  <c:v>MAR</c:v>
                </c:pt>
                <c:pt idx="63">
                  <c:v>APR</c:v>
                </c:pt>
                <c:pt idx="64">
                  <c:v>MAY</c:v>
                </c:pt>
                <c:pt idx="65">
                  <c:v>JUN</c:v>
                </c:pt>
                <c:pt idx="66">
                  <c:v>JUL</c:v>
                </c:pt>
                <c:pt idx="67">
                  <c:v>AUG</c:v>
                </c:pt>
                <c:pt idx="68">
                  <c:v>SEP</c:v>
                </c:pt>
                <c:pt idx="69">
                  <c:v>OCT</c:v>
                </c:pt>
                <c:pt idx="70">
                  <c:v>NOV</c:v>
                </c:pt>
                <c:pt idx="71">
                  <c:v>DEC</c:v>
                </c:pt>
                <c:pt idx="72">
                  <c:v>2021</c:v>
                </c:pt>
                <c:pt idx="73">
                  <c:v>FEB</c:v>
                </c:pt>
                <c:pt idx="74">
                  <c:v>MAR</c:v>
                </c:pt>
                <c:pt idx="75">
                  <c:v>APR</c:v>
                </c:pt>
                <c:pt idx="76">
                  <c:v>MAY</c:v>
                </c:pt>
                <c:pt idx="77">
                  <c:v>JUN</c:v>
                </c:pt>
                <c:pt idx="78">
                  <c:v>JUL</c:v>
                </c:pt>
                <c:pt idx="79">
                  <c:v>AUG</c:v>
                </c:pt>
                <c:pt idx="80">
                  <c:v>SEP</c:v>
                </c:pt>
                <c:pt idx="81">
                  <c:v>OCT</c:v>
                </c:pt>
                <c:pt idx="82">
                  <c:v>NOV</c:v>
                </c:pt>
                <c:pt idx="83">
                  <c:v>DEC</c:v>
                </c:pt>
                <c:pt idx="84">
                  <c:v>2022</c:v>
                </c:pt>
                <c:pt idx="85">
                  <c:v>FEB</c:v>
                </c:pt>
                <c:pt idx="86">
                  <c:v>MAR</c:v>
                </c:pt>
                <c:pt idx="87">
                  <c:v>APR</c:v>
                </c:pt>
                <c:pt idx="88">
                  <c:v>MAY</c:v>
                </c:pt>
                <c:pt idx="89">
                  <c:v>JUN</c:v>
                </c:pt>
                <c:pt idx="90">
                  <c:v>JUL</c:v>
                </c:pt>
                <c:pt idx="91">
                  <c:v>AUG</c:v>
                </c:pt>
                <c:pt idx="92">
                  <c:v>SEP</c:v>
                </c:pt>
                <c:pt idx="93">
                  <c:v>OCT</c:v>
                </c:pt>
                <c:pt idx="94">
                  <c:v>NOV</c:v>
                </c:pt>
                <c:pt idx="95">
                  <c:v>DEC</c:v>
                </c:pt>
                <c:pt idx="96">
                  <c:v>2023</c:v>
                </c:pt>
                <c:pt idx="97">
                  <c:v>FEB</c:v>
                </c:pt>
                <c:pt idx="98">
                  <c:v>MAR</c:v>
                </c:pt>
                <c:pt idx="99">
                  <c:v>APR</c:v>
                </c:pt>
                <c:pt idx="100">
                  <c:v>MAY</c:v>
                </c:pt>
                <c:pt idx="101">
                  <c:v>JUN</c:v>
                </c:pt>
                <c:pt idx="102">
                  <c:v>JUL</c:v>
                </c:pt>
              </c:strCache>
            </c:strRef>
          </c:cat>
          <c:val>
            <c:numRef>
              <c:f>'GoodsVServices-Real'!$K$62:$K$164</c:f>
              <c:numCache>
                <c:formatCode>"$"#,##0.0000</c:formatCode>
                <c:ptCount val="103"/>
                <c:pt idx="0">
                  <c:v>8.6608999999999998</c:v>
                </c:pt>
                <c:pt idx="1">
                  <c:v>8.6827000000000005</c:v>
                </c:pt>
                <c:pt idx="2">
                  <c:v>8.6837</c:v>
                </c:pt>
                <c:pt idx="3">
                  <c:v>8.7037000000000013</c:v>
                </c:pt>
                <c:pt idx="4">
                  <c:v>8.7233999999999998</c:v>
                </c:pt>
                <c:pt idx="5">
                  <c:v>8.7322999999999986</c:v>
                </c:pt>
                <c:pt idx="6">
                  <c:v>8.7502999999999993</c:v>
                </c:pt>
                <c:pt idx="7">
                  <c:v>8.7669999999999995</c:v>
                </c:pt>
                <c:pt idx="8">
                  <c:v>8.7728999999999999</c:v>
                </c:pt>
                <c:pt idx="9">
                  <c:v>8.7962000000000007</c:v>
                </c:pt>
                <c:pt idx="10">
                  <c:v>8.7842000000000002</c:v>
                </c:pt>
                <c:pt idx="11">
                  <c:v>8.8092000000000006</c:v>
                </c:pt>
                <c:pt idx="12">
                  <c:v>8.8322000000000003</c:v>
                </c:pt>
                <c:pt idx="13">
                  <c:v>8.8711000000000002</c:v>
                </c:pt>
                <c:pt idx="14">
                  <c:v>8.8468999999999998</c:v>
                </c:pt>
                <c:pt idx="15">
                  <c:v>8.8722000000000012</c:v>
                </c:pt>
                <c:pt idx="16">
                  <c:v>8.8750999999999998</c:v>
                </c:pt>
                <c:pt idx="17">
                  <c:v>8.8886000000000003</c:v>
                </c:pt>
                <c:pt idx="18">
                  <c:v>8.9097000000000008</c:v>
                </c:pt>
                <c:pt idx="19">
                  <c:v>8.9192</c:v>
                </c:pt>
                <c:pt idx="20">
                  <c:v>8.946200000000001</c:v>
                </c:pt>
                <c:pt idx="21">
                  <c:v>8.9367000000000001</c:v>
                </c:pt>
                <c:pt idx="22">
                  <c:v>8.9649000000000001</c:v>
                </c:pt>
                <c:pt idx="23">
                  <c:v>8.9962999999999997</c:v>
                </c:pt>
                <c:pt idx="24">
                  <c:v>9.0163999999999991</c:v>
                </c:pt>
                <c:pt idx="25">
                  <c:v>9.01</c:v>
                </c:pt>
                <c:pt idx="26">
                  <c:v>9.0616000000000003</c:v>
                </c:pt>
                <c:pt idx="27">
                  <c:v>9.0422000000000011</c:v>
                </c:pt>
                <c:pt idx="28">
                  <c:v>9.0522999999999989</c:v>
                </c:pt>
                <c:pt idx="29">
                  <c:v>9.0571999999999999</c:v>
                </c:pt>
                <c:pt idx="30">
                  <c:v>9.0854999999999997</c:v>
                </c:pt>
                <c:pt idx="31">
                  <c:v>9.0824999999999996</c:v>
                </c:pt>
                <c:pt idx="32">
                  <c:v>9.0972999999999988</c:v>
                </c:pt>
                <c:pt idx="33">
                  <c:v>9.111600000000001</c:v>
                </c:pt>
                <c:pt idx="34">
                  <c:v>9.1379000000000001</c:v>
                </c:pt>
                <c:pt idx="35">
                  <c:v>9.1865000000000006</c:v>
                </c:pt>
                <c:pt idx="36">
                  <c:v>9.1898</c:v>
                </c:pt>
                <c:pt idx="37">
                  <c:v>9.1875</c:v>
                </c:pt>
                <c:pt idx="38">
                  <c:v>9.2327999999999992</c:v>
                </c:pt>
                <c:pt idx="39">
                  <c:v>9.2556000000000012</c:v>
                </c:pt>
                <c:pt idx="40">
                  <c:v>9.2502999999999993</c:v>
                </c:pt>
                <c:pt idx="41">
                  <c:v>9.2907999999999991</c:v>
                </c:pt>
                <c:pt idx="42">
                  <c:v>9.3013999999999992</c:v>
                </c:pt>
                <c:pt idx="43">
                  <c:v>9.3186</c:v>
                </c:pt>
                <c:pt idx="44">
                  <c:v>9.3056999999999999</c:v>
                </c:pt>
                <c:pt idx="45">
                  <c:v>9.3332000000000015</c:v>
                </c:pt>
                <c:pt idx="46">
                  <c:v>9.3362000000000016</c:v>
                </c:pt>
                <c:pt idx="47">
                  <c:v>9.3178999999999998</c:v>
                </c:pt>
                <c:pt idx="48">
                  <c:v>9.3181000000000012</c:v>
                </c:pt>
                <c:pt idx="49">
                  <c:v>9.3252000000000006</c:v>
                </c:pt>
                <c:pt idx="50">
                  <c:v>9.3634000000000004</c:v>
                </c:pt>
                <c:pt idx="51">
                  <c:v>9.357899999999999</c:v>
                </c:pt>
                <c:pt idx="52">
                  <c:v>9.3719000000000001</c:v>
                </c:pt>
                <c:pt idx="53">
                  <c:v>9.3922000000000008</c:v>
                </c:pt>
                <c:pt idx="54">
                  <c:v>9.424100000000001</c:v>
                </c:pt>
                <c:pt idx="55">
                  <c:v>9.4549000000000003</c:v>
                </c:pt>
                <c:pt idx="56">
                  <c:v>9.4754000000000005</c:v>
                </c:pt>
                <c:pt idx="57">
                  <c:v>9.4852000000000007</c:v>
                </c:pt>
                <c:pt idx="58">
                  <c:v>9.5312000000000001</c:v>
                </c:pt>
                <c:pt idx="59">
                  <c:v>9.5417000000000005</c:v>
                </c:pt>
                <c:pt idx="60">
                  <c:v>9.6113999999999997</c:v>
                </c:pt>
                <c:pt idx="61">
                  <c:v>9.5842999999999989</c:v>
                </c:pt>
                <c:pt idx="62">
                  <c:v>8.7452000000000005</c:v>
                </c:pt>
                <c:pt idx="63">
                  <c:v>7.8283000000000005</c:v>
                </c:pt>
                <c:pt idx="64">
                  <c:v>8.2279</c:v>
                </c:pt>
                <c:pt idx="65">
                  <c:v>8.6638999999999999</c:v>
                </c:pt>
                <c:pt idx="66">
                  <c:v>8.7802000000000007</c:v>
                </c:pt>
                <c:pt idx="67">
                  <c:v>8.8840000000000003</c:v>
                </c:pt>
                <c:pt idx="68">
                  <c:v>8.9888999999999992</c:v>
                </c:pt>
                <c:pt idx="69">
                  <c:v>9.0411000000000001</c:v>
                </c:pt>
                <c:pt idx="70">
                  <c:v>9.0267999999999997</c:v>
                </c:pt>
                <c:pt idx="71">
                  <c:v>9.0287000000000006</c:v>
                </c:pt>
                <c:pt idx="72">
                  <c:v>9.1007999999999996</c:v>
                </c:pt>
                <c:pt idx="73">
                  <c:v>9.0791000000000004</c:v>
                </c:pt>
                <c:pt idx="74">
                  <c:v>9.2547999999999995</c:v>
                </c:pt>
                <c:pt idx="75">
                  <c:v>9.3510000000000009</c:v>
                </c:pt>
                <c:pt idx="76">
                  <c:v>9.4207999999999998</c:v>
                </c:pt>
                <c:pt idx="77">
                  <c:v>9.5169999999999995</c:v>
                </c:pt>
                <c:pt idx="78">
                  <c:v>9.5998000000000001</c:v>
                </c:pt>
                <c:pt idx="79">
                  <c:v>9.648200000000001</c:v>
                </c:pt>
                <c:pt idx="80">
                  <c:v>9.6753999999999998</c:v>
                </c:pt>
                <c:pt idx="81">
                  <c:v>9.7082999999999995</c:v>
                </c:pt>
                <c:pt idx="82">
                  <c:v>9.7262000000000004</c:v>
                </c:pt>
                <c:pt idx="83">
                  <c:v>9.7192999999999987</c:v>
                </c:pt>
                <c:pt idx="84">
                  <c:v>9.69</c:v>
                </c:pt>
                <c:pt idx="85">
                  <c:v>9.7364999999999995</c:v>
                </c:pt>
                <c:pt idx="86">
                  <c:v>9.7727000000000004</c:v>
                </c:pt>
                <c:pt idx="87">
                  <c:v>9.7943999999999996</c:v>
                </c:pt>
                <c:pt idx="88">
                  <c:v>9.8094999999999999</c:v>
                </c:pt>
                <c:pt idx="89">
                  <c:v>9.8285999999999998</c:v>
                </c:pt>
                <c:pt idx="90">
                  <c:v>9.843399999999999</c:v>
                </c:pt>
                <c:pt idx="91">
                  <c:v>9.8876000000000008</c:v>
                </c:pt>
                <c:pt idx="92">
                  <c:v>9.9036000000000008</c:v>
                </c:pt>
                <c:pt idx="93">
                  <c:v>9.9129000000000005</c:v>
                </c:pt>
                <c:pt idx="94">
                  <c:v>9.9176000000000002</c:v>
                </c:pt>
                <c:pt idx="95">
                  <c:v>9.9362999999999992</c:v>
                </c:pt>
                <c:pt idx="96">
                  <c:v>9.9897000000000009</c:v>
                </c:pt>
                <c:pt idx="97">
                  <c:v>9.9932999999999996</c:v>
                </c:pt>
                <c:pt idx="98">
                  <c:v>10.0138</c:v>
                </c:pt>
                <c:pt idx="99">
                  <c:v>10.007299999999999</c:v>
                </c:pt>
                <c:pt idx="100">
                  <c:v>10.016</c:v>
                </c:pt>
                <c:pt idx="101">
                  <c:v>10.0459</c:v>
                </c:pt>
                <c:pt idx="102">
                  <c:v>10.103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707-48BD-8D66-6D400F36E3F5}"/>
            </c:ext>
          </c:extLst>
        </c:ser>
        <c:ser>
          <c:idx val="2"/>
          <c:order val="2"/>
          <c:tx>
            <c:strRef>
              <c:f>'GoodsVServices-Real'!$L$1</c:f>
              <c:strCache>
                <c:ptCount val="1"/>
                <c:pt idx="0">
                  <c:v>February 2020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GoodsVServices-Real'!$C$62:$C$164</c:f>
              <c:strCache>
                <c:ptCount val="103"/>
                <c:pt idx="0">
                  <c:v>2015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2016</c:v>
                </c:pt>
                <c:pt idx="13">
                  <c:v>FEB</c:v>
                </c:pt>
                <c:pt idx="14">
                  <c:v>MAR</c:v>
                </c:pt>
                <c:pt idx="15">
                  <c:v>APR</c:v>
                </c:pt>
                <c:pt idx="16">
                  <c:v>MAY</c:v>
                </c:pt>
                <c:pt idx="17">
                  <c:v>JUN</c:v>
                </c:pt>
                <c:pt idx="18">
                  <c:v>JUL</c:v>
                </c:pt>
                <c:pt idx="19">
                  <c:v>AUG</c:v>
                </c:pt>
                <c:pt idx="20">
                  <c:v>SEP</c:v>
                </c:pt>
                <c:pt idx="21">
                  <c:v>OCT</c:v>
                </c:pt>
                <c:pt idx="22">
                  <c:v>NOV</c:v>
                </c:pt>
                <c:pt idx="23">
                  <c:v>DEC</c:v>
                </c:pt>
                <c:pt idx="24">
                  <c:v>2017</c:v>
                </c:pt>
                <c:pt idx="25">
                  <c:v>FEB</c:v>
                </c:pt>
                <c:pt idx="26">
                  <c:v>MAR</c:v>
                </c:pt>
                <c:pt idx="27">
                  <c:v>APR</c:v>
                </c:pt>
                <c:pt idx="28">
                  <c:v>MAY</c:v>
                </c:pt>
                <c:pt idx="29">
                  <c:v>JUN</c:v>
                </c:pt>
                <c:pt idx="30">
                  <c:v>JUL</c:v>
                </c:pt>
                <c:pt idx="31">
                  <c:v>AUG</c:v>
                </c:pt>
                <c:pt idx="32">
                  <c:v>SEP</c:v>
                </c:pt>
                <c:pt idx="33">
                  <c:v>OCT</c:v>
                </c:pt>
                <c:pt idx="34">
                  <c:v>NOV</c:v>
                </c:pt>
                <c:pt idx="35">
                  <c:v>DEC</c:v>
                </c:pt>
                <c:pt idx="36">
                  <c:v>2018</c:v>
                </c:pt>
                <c:pt idx="37">
                  <c:v>FEB</c:v>
                </c:pt>
                <c:pt idx="38">
                  <c:v>MAR</c:v>
                </c:pt>
                <c:pt idx="39">
                  <c:v>APR</c:v>
                </c:pt>
                <c:pt idx="40">
                  <c:v>MAY</c:v>
                </c:pt>
                <c:pt idx="41">
                  <c:v>JUN</c:v>
                </c:pt>
                <c:pt idx="42">
                  <c:v>JUL</c:v>
                </c:pt>
                <c:pt idx="43">
                  <c:v>AUG</c:v>
                </c:pt>
                <c:pt idx="44">
                  <c:v>SEP</c:v>
                </c:pt>
                <c:pt idx="45">
                  <c:v>OCT</c:v>
                </c:pt>
                <c:pt idx="46">
                  <c:v>NOV</c:v>
                </c:pt>
                <c:pt idx="47">
                  <c:v>DEC</c:v>
                </c:pt>
                <c:pt idx="48">
                  <c:v>2019</c:v>
                </c:pt>
                <c:pt idx="49">
                  <c:v>FEB</c:v>
                </c:pt>
                <c:pt idx="50">
                  <c:v>MAR</c:v>
                </c:pt>
                <c:pt idx="51">
                  <c:v>APR</c:v>
                </c:pt>
                <c:pt idx="52">
                  <c:v>MAY</c:v>
                </c:pt>
                <c:pt idx="53">
                  <c:v>JUN</c:v>
                </c:pt>
                <c:pt idx="54">
                  <c:v>JUL</c:v>
                </c:pt>
                <c:pt idx="55">
                  <c:v>AUG</c:v>
                </c:pt>
                <c:pt idx="56">
                  <c:v>SEP</c:v>
                </c:pt>
                <c:pt idx="57">
                  <c:v>OCT</c:v>
                </c:pt>
                <c:pt idx="58">
                  <c:v>NOV</c:v>
                </c:pt>
                <c:pt idx="59">
                  <c:v>DEC</c:v>
                </c:pt>
                <c:pt idx="60">
                  <c:v>2020</c:v>
                </c:pt>
                <c:pt idx="61">
                  <c:v>FEB</c:v>
                </c:pt>
                <c:pt idx="62">
                  <c:v>MAR</c:v>
                </c:pt>
                <c:pt idx="63">
                  <c:v>APR</c:v>
                </c:pt>
                <c:pt idx="64">
                  <c:v>MAY</c:v>
                </c:pt>
                <c:pt idx="65">
                  <c:v>JUN</c:v>
                </c:pt>
                <c:pt idx="66">
                  <c:v>JUL</c:v>
                </c:pt>
                <c:pt idx="67">
                  <c:v>AUG</c:v>
                </c:pt>
                <c:pt idx="68">
                  <c:v>SEP</c:v>
                </c:pt>
                <c:pt idx="69">
                  <c:v>OCT</c:v>
                </c:pt>
                <c:pt idx="70">
                  <c:v>NOV</c:v>
                </c:pt>
                <c:pt idx="71">
                  <c:v>DEC</c:v>
                </c:pt>
                <c:pt idx="72">
                  <c:v>2021</c:v>
                </c:pt>
                <c:pt idx="73">
                  <c:v>FEB</c:v>
                </c:pt>
                <c:pt idx="74">
                  <c:v>MAR</c:v>
                </c:pt>
                <c:pt idx="75">
                  <c:v>APR</c:v>
                </c:pt>
                <c:pt idx="76">
                  <c:v>MAY</c:v>
                </c:pt>
                <c:pt idx="77">
                  <c:v>JUN</c:v>
                </c:pt>
                <c:pt idx="78">
                  <c:v>JUL</c:v>
                </c:pt>
                <c:pt idx="79">
                  <c:v>AUG</c:v>
                </c:pt>
                <c:pt idx="80">
                  <c:v>SEP</c:v>
                </c:pt>
                <c:pt idx="81">
                  <c:v>OCT</c:v>
                </c:pt>
                <c:pt idx="82">
                  <c:v>NOV</c:v>
                </c:pt>
                <c:pt idx="83">
                  <c:v>DEC</c:v>
                </c:pt>
                <c:pt idx="84">
                  <c:v>2022</c:v>
                </c:pt>
                <c:pt idx="85">
                  <c:v>FEB</c:v>
                </c:pt>
                <c:pt idx="86">
                  <c:v>MAR</c:v>
                </c:pt>
                <c:pt idx="87">
                  <c:v>APR</c:v>
                </c:pt>
                <c:pt idx="88">
                  <c:v>MAY</c:v>
                </c:pt>
                <c:pt idx="89">
                  <c:v>JUN</c:v>
                </c:pt>
                <c:pt idx="90">
                  <c:v>JUL</c:v>
                </c:pt>
                <c:pt idx="91">
                  <c:v>AUG</c:v>
                </c:pt>
                <c:pt idx="92">
                  <c:v>SEP</c:v>
                </c:pt>
                <c:pt idx="93">
                  <c:v>OCT</c:v>
                </c:pt>
                <c:pt idx="94">
                  <c:v>NOV</c:v>
                </c:pt>
                <c:pt idx="95">
                  <c:v>DEC</c:v>
                </c:pt>
                <c:pt idx="96">
                  <c:v>2023</c:v>
                </c:pt>
                <c:pt idx="97">
                  <c:v>FEB</c:v>
                </c:pt>
                <c:pt idx="98">
                  <c:v>MAR</c:v>
                </c:pt>
                <c:pt idx="99">
                  <c:v>APR</c:v>
                </c:pt>
                <c:pt idx="100">
                  <c:v>MAY</c:v>
                </c:pt>
                <c:pt idx="101">
                  <c:v>JUN</c:v>
                </c:pt>
                <c:pt idx="102">
                  <c:v>JUL</c:v>
                </c:pt>
              </c:strCache>
            </c:strRef>
          </c:cat>
          <c:val>
            <c:numRef>
              <c:f>'GoodsVServices-Real'!$L$62:$L$164</c:f>
              <c:numCache>
                <c:formatCode>General</c:formatCode>
                <c:ptCount val="103"/>
                <c:pt idx="61" formatCode="&quot;$&quot;#,##0.0000">
                  <c:v>4.5823</c:v>
                </c:pt>
                <c:pt idx="62" formatCode="&quot;$&quot;#,##0.0000">
                  <c:v>4.5823</c:v>
                </c:pt>
                <c:pt idx="63" formatCode="&quot;$&quot;#,##0.0000">
                  <c:v>4.5823</c:v>
                </c:pt>
                <c:pt idx="64" formatCode="&quot;$&quot;#,##0.0000">
                  <c:v>4.5823</c:v>
                </c:pt>
                <c:pt idx="65" formatCode="&quot;$&quot;#,##0.0000">
                  <c:v>4.5823</c:v>
                </c:pt>
                <c:pt idx="66" formatCode="&quot;$&quot;#,##0.0000">
                  <c:v>4.5823</c:v>
                </c:pt>
                <c:pt idx="67" formatCode="&quot;$&quot;#,##0.0000">
                  <c:v>4.5823</c:v>
                </c:pt>
                <c:pt idx="68" formatCode="&quot;$&quot;#,##0.0000">
                  <c:v>4.5823</c:v>
                </c:pt>
                <c:pt idx="69" formatCode="&quot;$&quot;#,##0.0000">
                  <c:v>4.5823</c:v>
                </c:pt>
                <c:pt idx="70" formatCode="&quot;$&quot;#,##0.0000">
                  <c:v>4.5823</c:v>
                </c:pt>
                <c:pt idx="71" formatCode="&quot;$&quot;#,##0.0000">
                  <c:v>4.5823</c:v>
                </c:pt>
                <c:pt idx="72" formatCode="&quot;$&quot;#,##0.0000">
                  <c:v>4.5823</c:v>
                </c:pt>
                <c:pt idx="73" formatCode="&quot;$&quot;#,##0.0000">
                  <c:v>4.5823</c:v>
                </c:pt>
                <c:pt idx="74" formatCode="&quot;$&quot;#,##0.0000">
                  <c:v>4.5823</c:v>
                </c:pt>
                <c:pt idx="75" formatCode="&quot;$&quot;#,##0.0000">
                  <c:v>4.5823</c:v>
                </c:pt>
                <c:pt idx="76" formatCode="&quot;$&quot;#,##0.0000">
                  <c:v>4.5823</c:v>
                </c:pt>
                <c:pt idx="77" formatCode="&quot;$&quot;#,##0.0000">
                  <c:v>4.5823</c:v>
                </c:pt>
                <c:pt idx="78" formatCode="&quot;$&quot;#,##0.0000">
                  <c:v>4.5823</c:v>
                </c:pt>
                <c:pt idx="79" formatCode="&quot;$&quot;#,##0.0000">
                  <c:v>4.5823</c:v>
                </c:pt>
                <c:pt idx="80" formatCode="&quot;$&quot;#,##0.0000">
                  <c:v>4.5823</c:v>
                </c:pt>
                <c:pt idx="81" formatCode="&quot;$&quot;#,##0.0000">
                  <c:v>4.5823</c:v>
                </c:pt>
                <c:pt idx="82" formatCode="&quot;$&quot;#,##0.0000">
                  <c:v>4.5823</c:v>
                </c:pt>
                <c:pt idx="83" formatCode="&quot;$&quot;#,##0.0000">
                  <c:v>4.5823</c:v>
                </c:pt>
                <c:pt idx="84" formatCode="&quot;$&quot;#,##0.0000">
                  <c:v>4.5823</c:v>
                </c:pt>
                <c:pt idx="85" formatCode="&quot;$&quot;#,##0.0000">
                  <c:v>4.5823</c:v>
                </c:pt>
                <c:pt idx="86" formatCode="&quot;$&quot;#,##0.0000">
                  <c:v>4.5823</c:v>
                </c:pt>
                <c:pt idx="87" formatCode="&quot;$&quot;#,##0.0000">
                  <c:v>4.5823</c:v>
                </c:pt>
                <c:pt idx="88" formatCode="&quot;$&quot;#,##0.0000">
                  <c:v>4.5823</c:v>
                </c:pt>
                <c:pt idx="89" formatCode="&quot;$&quot;#,##0.0000">
                  <c:v>4.5823</c:v>
                </c:pt>
                <c:pt idx="90" formatCode="&quot;$&quot;#,##0.0000">
                  <c:v>4.5823</c:v>
                </c:pt>
                <c:pt idx="91" formatCode="&quot;$&quot;#,##0.0000">
                  <c:v>4.5823</c:v>
                </c:pt>
                <c:pt idx="92" formatCode="&quot;$&quot;#,##0.0000">
                  <c:v>4.5823</c:v>
                </c:pt>
                <c:pt idx="93" formatCode="&quot;$&quot;#,##0.0000">
                  <c:v>4.5823</c:v>
                </c:pt>
                <c:pt idx="94" formatCode="&quot;$&quot;#,##0.0000">
                  <c:v>4.5823</c:v>
                </c:pt>
                <c:pt idx="95" formatCode="&quot;$&quot;#,##0.0000">
                  <c:v>4.5823</c:v>
                </c:pt>
                <c:pt idx="96" formatCode="&quot;$&quot;#,##0.0000">
                  <c:v>4.5823</c:v>
                </c:pt>
                <c:pt idx="97" formatCode="&quot;$&quot;#,##0.0000">
                  <c:v>4.5823</c:v>
                </c:pt>
                <c:pt idx="98" formatCode="&quot;$&quot;#,##0.0000">
                  <c:v>4.5823</c:v>
                </c:pt>
                <c:pt idx="99" formatCode="&quot;$&quot;#,##0.0000">
                  <c:v>4.5823</c:v>
                </c:pt>
                <c:pt idx="100" formatCode="&quot;$&quot;#,##0.0000">
                  <c:v>4.5823</c:v>
                </c:pt>
                <c:pt idx="101" formatCode="&quot;$&quot;#,##0.0000">
                  <c:v>4.5823</c:v>
                </c:pt>
                <c:pt idx="102" formatCode="&quot;$&quot;#,##0.0000">
                  <c:v>4.582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B707-48BD-8D66-6D400F36E3F5}"/>
            </c:ext>
          </c:extLst>
        </c:ser>
        <c:ser>
          <c:idx val="3"/>
          <c:order val="3"/>
          <c:tx>
            <c:strRef>
              <c:f>'GoodsVServices-Real'!$M$1</c:f>
              <c:strCache>
                <c:ptCount val="1"/>
                <c:pt idx="0">
                  <c:v>February 2020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GoodsVServices-Real'!$C$62:$C$164</c:f>
              <c:strCache>
                <c:ptCount val="103"/>
                <c:pt idx="0">
                  <c:v>2015</c:v>
                </c:pt>
                <c:pt idx="1">
                  <c:v>FEB</c:v>
                </c:pt>
                <c:pt idx="2">
                  <c:v>MAR</c:v>
                </c:pt>
                <c:pt idx="3">
                  <c:v>AP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UG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EC</c:v>
                </c:pt>
                <c:pt idx="12">
                  <c:v>2016</c:v>
                </c:pt>
                <c:pt idx="13">
                  <c:v>FEB</c:v>
                </c:pt>
                <c:pt idx="14">
                  <c:v>MAR</c:v>
                </c:pt>
                <c:pt idx="15">
                  <c:v>APR</c:v>
                </c:pt>
                <c:pt idx="16">
                  <c:v>MAY</c:v>
                </c:pt>
                <c:pt idx="17">
                  <c:v>JUN</c:v>
                </c:pt>
                <c:pt idx="18">
                  <c:v>JUL</c:v>
                </c:pt>
                <c:pt idx="19">
                  <c:v>AUG</c:v>
                </c:pt>
                <c:pt idx="20">
                  <c:v>SEP</c:v>
                </c:pt>
                <c:pt idx="21">
                  <c:v>OCT</c:v>
                </c:pt>
                <c:pt idx="22">
                  <c:v>NOV</c:v>
                </c:pt>
                <c:pt idx="23">
                  <c:v>DEC</c:v>
                </c:pt>
                <c:pt idx="24">
                  <c:v>2017</c:v>
                </c:pt>
                <c:pt idx="25">
                  <c:v>FEB</c:v>
                </c:pt>
                <c:pt idx="26">
                  <c:v>MAR</c:v>
                </c:pt>
                <c:pt idx="27">
                  <c:v>APR</c:v>
                </c:pt>
                <c:pt idx="28">
                  <c:v>MAY</c:v>
                </c:pt>
                <c:pt idx="29">
                  <c:v>JUN</c:v>
                </c:pt>
                <c:pt idx="30">
                  <c:v>JUL</c:v>
                </c:pt>
                <c:pt idx="31">
                  <c:v>AUG</c:v>
                </c:pt>
                <c:pt idx="32">
                  <c:v>SEP</c:v>
                </c:pt>
                <c:pt idx="33">
                  <c:v>OCT</c:v>
                </c:pt>
                <c:pt idx="34">
                  <c:v>NOV</c:v>
                </c:pt>
                <c:pt idx="35">
                  <c:v>DEC</c:v>
                </c:pt>
                <c:pt idx="36">
                  <c:v>2018</c:v>
                </c:pt>
                <c:pt idx="37">
                  <c:v>FEB</c:v>
                </c:pt>
                <c:pt idx="38">
                  <c:v>MAR</c:v>
                </c:pt>
                <c:pt idx="39">
                  <c:v>APR</c:v>
                </c:pt>
                <c:pt idx="40">
                  <c:v>MAY</c:v>
                </c:pt>
                <c:pt idx="41">
                  <c:v>JUN</c:v>
                </c:pt>
                <c:pt idx="42">
                  <c:v>JUL</c:v>
                </c:pt>
                <c:pt idx="43">
                  <c:v>AUG</c:v>
                </c:pt>
                <c:pt idx="44">
                  <c:v>SEP</c:v>
                </c:pt>
                <c:pt idx="45">
                  <c:v>OCT</c:v>
                </c:pt>
                <c:pt idx="46">
                  <c:v>NOV</c:v>
                </c:pt>
                <c:pt idx="47">
                  <c:v>DEC</c:v>
                </c:pt>
                <c:pt idx="48">
                  <c:v>2019</c:v>
                </c:pt>
                <c:pt idx="49">
                  <c:v>FEB</c:v>
                </c:pt>
                <c:pt idx="50">
                  <c:v>MAR</c:v>
                </c:pt>
                <c:pt idx="51">
                  <c:v>APR</c:v>
                </c:pt>
                <c:pt idx="52">
                  <c:v>MAY</c:v>
                </c:pt>
                <c:pt idx="53">
                  <c:v>JUN</c:v>
                </c:pt>
                <c:pt idx="54">
                  <c:v>JUL</c:v>
                </c:pt>
                <c:pt idx="55">
                  <c:v>AUG</c:v>
                </c:pt>
                <c:pt idx="56">
                  <c:v>SEP</c:v>
                </c:pt>
                <c:pt idx="57">
                  <c:v>OCT</c:v>
                </c:pt>
                <c:pt idx="58">
                  <c:v>NOV</c:v>
                </c:pt>
                <c:pt idx="59">
                  <c:v>DEC</c:v>
                </c:pt>
                <c:pt idx="60">
                  <c:v>2020</c:v>
                </c:pt>
                <c:pt idx="61">
                  <c:v>FEB</c:v>
                </c:pt>
                <c:pt idx="62">
                  <c:v>MAR</c:v>
                </c:pt>
                <c:pt idx="63">
                  <c:v>APR</c:v>
                </c:pt>
                <c:pt idx="64">
                  <c:v>MAY</c:v>
                </c:pt>
                <c:pt idx="65">
                  <c:v>JUN</c:v>
                </c:pt>
                <c:pt idx="66">
                  <c:v>JUL</c:v>
                </c:pt>
                <c:pt idx="67">
                  <c:v>AUG</c:v>
                </c:pt>
                <c:pt idx="68">
                  <c:v>SEP</c:v>
                </c:pt>
                <c:pt idx="69">
                  <c:v>OCT</c:v>
                </c:pt>
                <c:pt idx="70">
                  <c:v>NOV</c:v>
                </c:pt>
                <c:pt idx="71">
                  <c:v>DEC</c:v>
                </c:pt>
                <c:pt idx="72">
                  <c:v>2021</c:v>
                </c:pt>
                <c:pt idx="73">
                  <c:v>FEB</c:v>
                </c:pt>
                <c:pt idx="74">
                  <c:v>MAR</c:v>
                </c:pt>
                <c:pt idx="75">
                  <c:v>APR</c:v>
                </c:pt>
                <c:pt idx="76">
                  <c:v>MAY</c:v>
                </c:pt>
                <c:pt idx="77">
                  <c:v>JUN</c:v>
                </c:pt>
                <c:pt idx="78">
                  <c:v>JUL</c:v>
                </c:pt>
                <c:pt idx="79">
                  <c:v>AUG</c:v>
                </c:pt>
                <c:pt idx="80">
                  <c:v>SEP</c:v>
                </c:pt>
                <c:pt idx="81">
                  <c:v>OCT</c:v>
                </c:pt>
                <c:pt idx="82">
                  <c:v>NOV</c:v>
                </c:pt>
                <c:pt idx="83">
                  <c:v>DEC</c:v>
                </c:pt>
                <c:pt idx="84">
                  <c:v>2022</c:v>
                </c:pt>
                <c:pt idx="85">
                  <c:v>FEB</c:v>
                </c:pt>
                <c:pt idx="86">
                  <c:v>MAR</c:v>
                </c:pt>
                <c:pt idx="87">
                  <c:v>APR</c:v>
                </c:pt>
                <c:pt idx="88">
                  <c:v>MAY</c:v>
                </c:pt>
                <c:pt idx="89">
                  <c:v>JUN</c:v>
                </c:pt>
                <c:pt idx="90">
                  <c:v>JUL</c:v>
                </c:pt>
                <c:pt idx="91">
                  <c:v>AUG</c:v>
                </c:pt>
                <c:pt idx="92">
                  <c:v>SEP</c:v>
                </c:pt>
                <c:pt idx="93">
                  <c:v>OCT</c:v>
                </c:pt>
                <c:pt idx="94">
                  <c:v>NOV</c:v>
                </c:pt>
                <c:pt idx="95">
                  <c:v>DEC</c:v>
                </c:pt>
                <c:pt idx="96">
                  <c:v>2023</c:v>
                </c:pt>
                <c:pt idx="97">
                  <c:v>FEB</c:v>
                </c:pt>
                <c:pt idx="98">
                  <c:v>MAR</c:v>
                </c:pt>
                <c:pt idx="99">
                  <c:v>APR</c:v>
                </c:pt>
                <c:pt idx="100">
                  <c:v>MAY</c:v>
                </c:pt>
                <c:pt idx="101">
                  <c:v>JUN</c:v>
                </c:pt>
                <c:pt idx="102">
                  <c:v>JUL</c:v>
                </c:pt>
              </c:strCache>
            </c:strRef>
          </c:cat>
          <c:val>
            <c:numRef>
              <c:f>'GoodsVServices-Real'!$M$62:$M$164</c:f>
              <c:numCache>
                <c:formatCode>General</c:formatCode>
                <c:ptCount val="103"/>
                <c:pt idx="61" formatCode="&quot;$&quot;#,##0.0000">
                  <c:v>9.5842999999999989</c:v>
                </c:pt>
                <c:pt idx="62" formatCode="&quot;$&quot;#,##0.0000">
                  <c:v>9.5842999999999989</c:v>
                </c:pt>
                <c:pt idx="63" formatCode="&quot;$&quot;#,##0.0000">
                  <c:v>9.5842999999999989</c:v>
                </c:pt>
                <c:pt idx="64" formatCode="&quot;$&quot;#,##0.0000">
                  <c:v>9.5842999999999989</c:v>
                </c:pt>
                <c:pt idx="65" formatCode="&quot;$&quot;#,##0.0000">
                  <c:v>9.5842999999999989</c:v>
                </c:pt>
                <c:pt idx="66" formatCode="&quot;$&quot;#,##0.0000">
                  <c:v>9.5842999999999989</c:v>
                </c:pt>
                <c:pt idx="67" formatCode="&quot;$&quot;#,##0.0000">
                  <c:v>9.5842999999999989</c:v>
                </c:pt>
                <c:pt idx="68" formatCode="&quot;$&quot;#,##0.0000">
                  <c:v>9.5842999999999989</c:v>
                </c:pt>
                <c:pt idx="69" formatCode="&quot;$&quot;#,##0.0000">
                  <c:v>9.5842999999999989</c:v>
                </c:pt>
                <c:pt idx="70" formatCode="&quot;$&quot;#,##0.0000">
                  <c:v>9.5842999999999989</c:v>
                </c:pt>
                <c:pt idx="71" formatCode="&quot;$&quot;#,##0.0000">
                  <c:v>9.5842999999999989</c:v>
                </c:pt>
                <c:pt idx="72" formatCode="&quot;$&quot;#,##0.0000">
                  <c:v>9.5842999999999989</c:v>
                </c:pt>
                <c:pt idx="73" formatCode="&quot;$&quot;#,##0.0000">
                  <c:v>9.5842999999999989</c:v>
                </c:pt>
                <c:pt idx="74" formatCode="&quot;$&quot;#,##0.0000">
                  <c:v>9.5842999999999989</c:v>
                </c:pt>
                <c:pt idx="75" formatCode="&quot;$&quot;#,##0.0000">
                  <c:v>9.5842999999999989</c:v>
                </c:pt>
                <c:pt idx="76" formatCode="&quot;$&quot;#,##0.0000">
                  <c:v>9.5842999999999989</c:v>
                </c:pt>
                <c:pt idx="77" formatCode="&quot;$&quot;#,##0.0000">
                  <c:v>9.5842999999999989</c:v>
                </c:pt>
                <c:pt idx="78" formatCode="&quot;$&quot;#,##0.0000">
                  <c:v>9.5842999999999989</c:v>
                </c:pt>
                <c:pt idx="79" formatCode="&quot;$&quot;#,##0.0000">
                  <c:v>9.5842999999999989</c:v>
                </c:pt>
                <c:pt idx="80" formatCode="&quot;$&quot;#,##0.0000">
                  <c:v>9.5842999999999989</c:v>
                </c:pt>
                <c:pt idx="81" formatCode="&quot;$&quot;#,##0.0000">
                  <c:v>9.5842999999999989</c:v>
                </c:pt>
                <c:pt idx="82" formatCode="&quot;$&quot;#,##0.0000">
                  <c:v>9.5842999999999989</c:v>
                </c:pt>
                <c:pt idx="83" formatCode="&quot;$&quot;#,##0.0000">
                  <c:v>9.5842999999999989</c:v>
                </c:pt>
                <c:pt idx="84" formatCode="&quot;$&quot;#,##0.0000">
                  <c:v>9.5842999999999989</c:v>
                </c:pt>
                <c:pt idx="85" formatCode="&quot;$&quot;#,##0.0000">
                  <c:v>9.5842999999999989</c:v>
                </c:pt>
                <c:pt idx="86" formatCode="&quot;$&quot;#,##0.0000">
                  <c:v>9.5842999999999989</c:v>
                </c:pt>
                <c:pt idx="87" formatCode="&quot;$&quot;#,##0.0000">
                  <c:v>9.5842999999999989</c:v>
                </c:pt>
                <c:pt idx="88" formatCode="&quot;$&quot;#,##0.0000">
                  <c:v>9.5842999999999989</c:v>
                </c:pt>
                <c:pt idx="89" formatCode="&quot;$&quot;#,##0.0000">
                  <c:v>9.5842999999999989</c:v>
                </c:pt>
                <c:pt idx="90" formatCode="&quot;$&quot;#,##0.0000">
                  <c:v>9.5842999999999989</c:v>
                </c:pt>
                <c:pt idx="91" formatCode="&quot;$&quot;#,##0.0000">
                  <c:v>9.5842999999999989</c:v>
                </c:pt>
                <c:pt idx="92" formatCode="&quot;$&quot;#,##0.0000">
                  <c:v>9.5842999999999989</c:v>
                </c:pt>
                <c:pt idx="93" formatCode="&quot;$&quot;#,##0.0000">
                  <c:v>9.5842999999999989</c:v>
                </c:pt>
                <c:pt idx="94" formatCode="&quot;$&quot;#,##0.0000">
                  <c:v>9.5842999999999989</c:v>
                </c:pt>
                <c:pt idx="95" formatCode="&quot;$&quot;#,##0.0000">
                  <c:v>9.5842999999999989</c:v>
                </c:pt>
                <c:pt idx="96" formatCode="&quot;$&quot;#,##0.0000">
                  <c:v>9.5842999999999989</c:v>
                </c:pt>
                <c:pt idx="97" formatCode="&quot;$&quot;#,##0.0000">
                  <c:v>9.5842999999999989</c:v>
                </c:pt>
                <c:pt idx="98" formatCode="&quot;$&quot;#,##0.0000">
                  <c:v>9.5842999999999989</c:v>
                </c:pt>
                <c:pt idx="99" formatCode="&quot;$&quot;#,##0.0000">
                  <c:v>9.5842999999999989</c:v>
                </c:pt>
                <c:pt idx="100" formatCode="&quot;$&quot;#,##0.0000">
                  <c:v>9.5842999999999989</c:v>
                </c:pt>
                <c:pt idx="101" formatCode="&quot;$&quot;#,##0.0000">
                  <c:v>9.5842999999999989</c:v>
                </c:pt>
                <c:pt idx="102" formatCode="&quot;$&quot;#,##0.0000">
                  <c:v>9.584299999999998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B707-48BD-8D66-6D400F36E3F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32646232"/>
        <c:axId val="732646560"/>
      </c:lineChart>
      <c:catAx>
        <c:axId val="7326462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2646560"/>
        <c:crosses val="autoZero"/>
        <c:auto val="1"/>
        <c:lblAlgn val="ctr"/>
        <c:lblOffset val="100"/>
        <c:tickLblSkip val="12"/>
        <c:noMultiLvlLbl val="0"/>
      </c:catAx>
      <c:valAx>
        <c:axId val="732646560"/>
        <c:scaling>
          <c:orientation val="minMax"/>
          <c:max val="11"/>
          <c:min val="2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dirty="0">
                    <a:solidFill>
                      <a:schemeClr val="tx1"/>
                    </a:solidFill>
                  </a:rPr>
                  <a:t>Trillions</a:t>
                </a:r>
              </a:p>
            </c:rich>
          </c:tx>
          <c:layout>
            <c:manualLayout>
              <c:xMode val="edge"/>
              <c:yMode val="edge"/>
              <c:x val="7.5711689884918481E-4"/>
              <c:y val="0.4480116743219597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ysClr val="windowText" lastClr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2646232"/>
        <c:crosses val="autoZero"/>
        <c:crossBetween val="between"/>
        <c:majorUnit val="1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egendEntry>
        <c:idx val="2"/>
        <c:delete val="1"/>
      </c:legendEntry>
      <c:layout>
        <c:manualLayout>
          <c:xMode val="edge"/>
          <c:yMode val="edge"/>
          <c:x val="0.43483373052824292"/>
          <c:y val="0.76176006124234463"/>
          <c:w val="0.52524268533820928"/>
          <c:h val="6.8598862642169717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ysClr val="windowText" lastClr="000000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Auto and light truck sales</a:t>
            </a:r>
          </a:p>
          <a:p>
            <a:pPr algn="l">
              <a:defRPr/>
            </a:pPr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Seasonally adjusted annual rate</a:t>
            </a:r>
          </a:p>
        </c:rich>
      </c:tx>
      <c:layout>
        <c:manualLayout>
          <c:xMode val="edge"/>
          <c:yMode val="edge"/>
          <c:x val="0.1361196169923204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4338534072129872"/>
          <c:y val="0.12719903762029747"/>
          <c:w val="0.8013208418392147"/>
          <c:h val="0.73715879265091866"/>
        </c:manualLayout>
      </c:layout>
      <c:lineChart>
        <c:grouping val="standard"/>
        <c:varyColors val="0"/>
        <c:ser>
          <c:idx val="0"/>
          <c:order val="0"/>
          <c:tx>
            <c:strRef>
              <c:f>'Light vehicle sales'!$B$1</c:f>
              <c:strCache>
                <c:ptCount val="1"/>
                <c:pt idx="0">
                  <c:v> Sales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Light vehicle sales'!$A$86:$A$190</c:f>
              <c:strCache>
                <c:ptCount val="104"/>
                <c:pt idx="0">
                  <c:v>2015</c:v>
                </c:pt>
                <c:pt idx="1">
                  <c:v>15-Feb</c:v>
                </c:pt>
                <c:pt idx="2">
                  <c:v>15-Mar</c:v>
                </c:pt>
                <c:pt idx="3">
                  <c:v>15-Apr</c:v>
                </c:pt>
                <c:pt idx="4">
                  <c:v>15-May</c:v>
                </c:pt>
                <c:pt idx="5">
                  <c:v>15-Jun</c:v>
                </c:pt>
                <c:pt idx="6">
                  <c:v>15-Jul</c:v>
                </c:pt>
                <c:pt idx="7">
                  <c:v>15-Aug</c:v>
                </c:pt>
                <c:pt idx="8">
                  <c:v>15-Sep</c:v>
                </c:pt>
                <c:pt idx="9">
                  <c:v>15-Oct</c:v>
                </c:pt>
                <c:pt idx="10">
                  <c:v>15-Nov</c:v>
                </c:pt>
                <c:pt idx="11">
                  <c:v>15-Dec</c:v>
                </c:pt>
                <c:pt idx="12">
                  <c:v>2016</c:v>
                </c:pt>
                <c:pt idx="13">
                  <c:v>16-Feb</c:v>
                </c:pt>
                <c:pt idx="14">
                  <c:v>16-Mar</c:v>
                </c:pt>
                <c:pt idx="15">
                  <c:v>16-Apr</c:v>
                </c:pt>
                <c:pt idx="16">
                  <c:v>16-May</c:v>
                </c:pt>
                <c:pt idx="17">
                  <c:v>16-Jun</c:v>
                </c:pt>
                <c:pt idx="18">
                  <c:v>16-Jul</c:v>
                </c:pt>
                <c:pt idx="19">
                  <c:v>16-Aug</c:v>
                </c:pt>
                <c:pt idx="20">
                  <c:v>16-Sep</c:v>
                </c:pt>
                <c:pt idx="21">
                  <c:v>16-Oct</c:v>
                </c:pt>
                <c:pt idx="22">
                  <c:v>16-Nov</c:v>
                </c:pt>
                <c:pt idx="23">
                  <c:v>16-Dec</c:v>
                </c:pt>
                <c:pt idx="24">
                  <c:v>2017</c:v>
                </c:pt>
                <c:pt idx="25">
                  <c:v>17-Feb</c:v>
                </c:pt>
                <c:pt idx="26">
                  <c:v>17-Mar</c:v>
                </c:pt>
                <c:pt idx="27">
                  <c:v>17-Apr</c:v>
                </c:pt>
                <c:pt idx="28">
                  <c:v>17-May</c:v>
                </c:pt>
                <c:pt idx="29">
                  <c:v>17-Jun</c:v>
                </c:pt>
                <c:pt idx="30">
                  <c:v>17-Jul</c:v>
                </c:pt>
                <c:pt idx="31">
                  <c:v>17-Aug</c:v>
                </c:pt>
                <c:pt idx="32">
                  <c:v>17-Sep</c:v>
                </c:pt>
                <c:pt idx="33">
                  <c:v>17-Oct</c:v>
                </c:pt>
                <c:pt idx="34">
                  <c:v>17-Nov</c:v>
                </c:pt>
                <c:pt idx="35">
                  <c:v>17-Dec</c:v>
                </c:pt>
                <c:pt idx="36">
                  <c:v>2018</c:v>
                </c:pt>
                <c:pt idx="37">
                  <c:v>18-Feb</c:v>
                </c:pt>
                <c:pt idx="38">
                  <c:v>18-Mar</c:v>
                </c:pt>
                <c:pt idx="39">
                  <c:v>18-Apr</c:v>
                </c:pt>
                <c:pt idx="40">
                  <c:v>18-May</c:v>
                </c:pt>
                <c:pt idx="41">
                  <c:v>18-Jun</c:v>
                </c:pt>
                <c:pt idx="42">
                  <c:v>18-Jul</c:v>
                </c:pt>
                <c:pt idx="43">
                  <c:v>18-Aug</c:v>
                </c:pt>
                <c:pt idx="44">
                  <c:v>18-Sep</c:v>
                </c:pt>
                <c:pt idx="45">
                  <c:v>18-Oct</c:v>
                </c:pt>
                <c:pt idx="46">
                  <c:v>18-Nov</c:v>
                </c:pt>
                <c:pt idx="47">
                  <c:v>18-Dec</c:v>
                </c:pt>
                <c:pt idx="48">
                  <c:v>2019</c:v>
                </c:pt>
                <c:pt idx="49">
                  <c:v>19-Feb</c:v>
                </c:pt>
                <c:pt idx="50">
                  <c:v>19-Mar</c:v>
                </c:pt>
                <c:pt idx="51">
                  <c:v>19-Apr</c:v>
                </c:pt>
                <c:pt idx="52">
                  <c:v>19-May</c:v>
                </c:pt>
                <c:pt idx="53">
                  <c:v>19-Jun</c:v>
                </c:pt>
                <c:pt idx="54">
                  <c:v>19-Jul</c:v>
                </c:pt>
                <c:pt idx="55">
                  <c:v>19-Aug</c:v>
                </c:pt>
                <c:pt idx="56">
                  <c:v>19-Sep</c:v>
                </c:pt>
                <c:pt idx="57">
                  <c:v>19-Oct</c:v>
                </c:pt>
                <c:pt idx="58">
                  <c:v>19-Nov</c:v>
                </c:pt>
                <c:pt idx="59">
                  <c:v>19-Dec</c:v>
                </c:pt>
                <c:pt idx="60">
                  <c:v>2020</c:v>
                </c:pt>
                <c:pt idx="61">
                  <c:v>20-Feb</c:v>
                </c:pt>
                <c:pt idx="62">
                  <c:v>20-Mar</c:v>
                </c:pt>
                <c:pt idx="63">
                  <c:v>20-Apr</c:v>
                </c:pt>
                <c:pt idx="64">
                  <c:v>20-May</c:v>
                </c:pt>
                <c:pt idx="65">
                  <c:v>20-Jun</c:v>
                </c:pt>
                <c:pt idx="66">
                  <c:v>20-Jul</c:v>
                </c:pt>
                <c:pt idx="67">
                  <c:v>20-Aug</c:v>
                </c:pt>
                <c:pt idx="68">
                  <c:v>20-Sep</c:v>
                </c:pt>
                <c:pt idx="69">
                  <c:v>20-Oct</c:v>
                </c:pt>
                <c:pt idx="70">
                  <c:v>20-Nov</c:v>
                </c:pt>
                <c:pt idx="71">
                  <c:v>20-Dec</c:v>
                </c:pt>
                <c:pt idx="72">
                  <c:v>2021</c:v>
                </c:pt>
                <c:pt idx="73">
                  <c:v>21-Feb</c:v>
                </c:pt>
                <c:pt idx="74">
                  <c:v>21-Mar</c:v>
                </c:pt>
                <c:pt idx="75">
                  <c:v>21-Apr</c:v>
                </c:pt>
                <c:pt idx="76">
                  <c:v>21-May</c:v>
                </c:pt>
                <c:pt idx="77">
                  <c:v>21-Jun</c:v>
                </c:pt>
                <c:pt idx="78">
                  <c:v>21-Jul</c:v>
                </c:pt>
                <c:pt idx="79">
                  <c:v>21-Aug</c:v>
                </c:pt>
                <c:pt idx="80">
                  <c:v>21-Sep</c:v>
                </c:pt>
                <c:pt idx="81">
                  <c:v>21-Oct</c:v>
                </c:pt>
                <c:pt idx="82">
                  <c:v>21-Nov</c:v>
                </c:pt>
                <c:pt idx="83">
                  <c:v>21-Dec</c:v>
                </c:pt>
                <c:pt idx="84">
                  <c:v>2022</c:v>
                </c:pt>
                <c:pt idx="85">
                  <c:v>22-Feb</c:v>
                </c:pt>
                <c:pt idx="86">
                  <c:v>22-Mar</c:v>
                </c:pt>
                <c:pt idx="87">
                  <c:v>22-Apr</c:v>
                </c:pt>
                <c:pt idx="88">
                  <c:v>22-May</c:v>
                </c:pt>
                <c:pt idx="89">
                  <c:v>22-Jun</c:v>
                </c:pt>
                <c:pt idx="90">
                  <c:v>22-Jul</c:v>
                </c:pt>
                <c:pt idx="91">
                  <c:v>22-Aug</c:v>
                </c:pt>
                <c:pt idx="92">
                  <c:v>22-Sep</c:v>
                </c:pt>
                <c:pt idx="93">
                  <c:v>22-Oct</c:v>
                </c:pt>
                <c:pt idx="94">
                  <c:v>22-Nov</c:v>
                </c:pt>
                <c:pt idx="95">
                  <c:v>22-Dec</c:v>
                </c:pt>
                <c:pt idx="96">
                  <c:v>2023</c:v>
                </c:pt>
                <c:pt idx="97">
                  <c:v>23-Feb</c:v>
                </c:pt>
                <c:pt idx="98">
                  <c:v>23-Mar</c:v>
                </c:pt>
                <c:pt idx="99">
                  <c:v>23-Apr</c:v>
                </c:pt>
                <c:pt idx="100">
                  <c:v>23-May</c:v>
                </c:pt>
                <c:pt idx="101">
                  <c:v>23-Jun</c:v>
                </c:pt>
                <c:pt idx="102">
                  <c:v>23-Jul</c:v>
                </c:pt>
                <c:pt idx="103">
                  <c:v>23-Aug</c:v>
                </c:pt>
              </c:strCache>
            </c:strRef>
          </c:cat>
          <c:val>
            <c:numRef>
              <c:f>'Light vehicle sales'!$B$86:$B$190</c:f>
              <c:numCache>
                <c:formatCode>#,##0.00</c:formatCode>
                <c:ptCount val="105"/>
                <c:pt idx="0">
                  <c:v>16.474</c:v>
                </c:pt>
                <c:pt idx="1">
                  <c:v>16.460999999999999</c:v>
                </c:pt>
                <c:pt idx="2">
                  <c:v>17.459</c:v>
                </c:pt>
                <c:pt idx="3">
                  <c:v>17.248999999999999</c:v>
                </c:pt>
                <c:pt idx="4">
                  <c:v>17.488</c:v>
                </c:pt>
                <c:pt idx="5">
                  <c:v>17.401</c:v>
                </c:pt>
                <c:pt idx="6">
                  <c:v>17.827000000000002</c:v>
                </c:pt>
                <c:pt idx="7">
                  <c:v>17.940000000000001</c:v>
                </c:pt>
                <c:pt idx="8">
                  <c:v>17.832999999999998</c:v>
                </c:pt>
                <c:pt idx="9">
                  <c:v>17.818000000000001</c:v>
                </c:pt>
                <c:pt idx="10">
                  <c:v>17.863</c:v>
                </c:pt>
                <c:pt idx="11">
                  <c:v>17.081</c:v>
                </c:pt>
                <c:pt idx="12">
                  <c:v>17.61</c:v>
                </c:pt>
                <c:pt idx="13">
                  <c:v>17.64</c:v>
                </c:pt>
                <c:pt idx="14">
                  <c:v>16.826000000000001</c:v>
                </c:pt>
                <c:pt idx="15">
                  <c:v>17.247</c:v>
                </c:pt>
                <c:pt idx="16">
                  <c:v>17.288</c:v>
                </c:pt>
                <c:pt idx="17">
                  <c:v>17.334</c:v>
                </c:pt>
                <c:pt idx="18">
                  <c:v>17.744</c:v>
                </c:pt>
                <c:pt idx="19">
                  <c:v>17.541</c:v>
                </c:pt>
                <c:pt idx="20">
                  <c:v>17.574000000000002</c:v>
                </c:pt>
                <c:pt idx="21">
                  <c:v>17.606000000000002</c:v>
                </c:pt>
                <c:pt idx="22">
                  <c:v>17.411000000000001</c:v>
                </c:pt>
                <c:pt idx="23">
                  <c:v>17.905999999999999</c:v>
                </c:pt>
                <c:pt idx="24">
                  <c:v>17.29</c:v>
                </c:pt>
                <c:pt idx="25">
                  <c:v>17.314</c:v>
                </c:pt>
                <c:pt idx="26">
                  <c:v>16.655999999999999</c:v>
                </c:pt>
                <c:pt idx="27">
                  <c:v>16.771000000000001</c:v>
                </c:pt>
                <c:pt idx="28">
                  <c:v>16.664000000000001</c:v>
                </c:pt>
                <c:pt idx="29">
                  <c:v>16.702999999999999</c:v>
                </c:pt>
                <c:pt idx="30">
                  <c:v>16.841999999999999</c:v>
                </c:pt>
                <c:pt idx="31">
                  <c:v>16.614000000000001</c:v>
                </c:pt>
                <c:pt idx="32">
                  <c:v>17.893000000000001</c:v>
                </c:pt>
                <c:pt idx="33">
                  <c:v>18.059000000000001</c:v>
                </c:pt>
                <c:pt idx="34">
                  <c:v>17.55</c:v>
                </c:pt>
                <c:pt idx="35">
                  <c:v>17.445</c:v>
                </c:pt>
                <c:pt idx="36">
                  <c:v>17.088999999999999</c:v>
                </c:pt>
                <c:pt idx="37">
                  <c:v>16.983000000000001</c:v>
                </c:pt>
                <c:pt idx="38">
                  <c:v>17.148</c:v>
                </c:pt>
                <c:pt idx="39">
                  <c:v>17.190000000000001</c:v>
                </c:pt>
                <c:pt idx="40">
                  <c:v>17.084</c:v>
                </c:pt>
                <c:pt idx="41">
                  <c:v>17.071999999999999</c:v>
                </c:pt>
                <c:pt idx="42">
                  <c:v>16.962</c:v>
                </c:pt>
                <c:pt idx="43">
                  <c:v>16.884</c:v>
                </c:pt>
                <c:pt idx="44">
                  <c:v>17.311</c:v>
                </c:pt>
                <c:pt idx="45">
                  <c:v>17.791</c:v>
                </c:pt>
                <c:pt idx="46">
                  <c:v>17.52</c:v>
                </c:pt>
                <c:pt idx="47">
                  <c:v>17.664999999999999</c:v>
                </c:pt>
                <c:pt idx="48">
                  <c:v>16.771000000000001</c:v>
                </c:pt>
                <c:pt idx="49">
                  <c:v>16.456</c:v>
                </c:pt>
                <c:pt idx="50">
                  <c:v>17.216000000000001</c:v>
                </c:pt>
                <c:pt idx="51">
                  <c:v>16.327000000000002</c:v>
                </c:pt>
                <c:pt idx="52">
                  <c:v>17.170000000000002</c:v>
                </c:pt>
                <c:pt idx="53">
                  <c:v>17.132000000000001</c:v>
                </c:pt>
                <c:pt idx="54">
                  <c:v>16.981999999999999</c:v>
                </c:pt>
                <c:pt idx="55">
                  <c:v>17.091999999999999</c:v>
                </c:pt>
                <c:pt idx="56">
                  <c:v>17.204999999999998</c:v>
                </c:pt>
                <c:pt idx="57">
                  <c:v>16.919</c:v>
                </c:pt>
                <c:pt idx="58">
                  <c:v>17.187000000000001</c:v>
                </c:pt>
                <c:pt idx="59">
                  <c:v>17.074999999999999</c:v>
                </c:pt>
                <c:pt idx="60">
                  <c:v>16.884</c:v>
                </c:pt>
                <c:pt idx="61">
                  <c:v>16.603000000000002</c:v>
                </c:pt>
                <c:pt idx="62">
                  <c:v>11.301</c:v>
                </c:pt>
                <c:pt idx="63">
                  <c:v>8.577</c:v>
                </c:pt>
                <c:pt idx="64">
                  <c:v>12.026999999999999</c:v>
                </c:pt>
                <c:pt idx="65">
                  <c:v>12.92</c:v>
                </c:pt>
                <c:pt idx="66">
                  <c:v>14.693</c:v>
                </c:pt>
                <c:pt idx="67">
                  <c:v>15.263</c:v>
                </c:pt>
                <c:pt idx="68">
                  <c:v>16.256</c:v>
                </c:pt>
                <c:pt idx="69">
                  <c:v>16.632999999999999</c:v>
                </c:pt>
                <c:pt idx="70">
                  <c:v>16.024000000000001</c:v>
                </c:pt>
                <c:pt idx="71">
                  <c:v>16.481999999999999</c:v>
                </c:pt>
                <c:pt idx="72">
                  <c:v>16.821999999999999</c:v>
                </c:pt>
                <c:pt idx="73">
                  <c:v>15.645</c:v>
                </c:pt>
                <c:pt idx="74">
                  <c:v>17.722999999999999</c:v>
                </c:pt>
                <c:pt idx="75">
                  <c:v>18.172999999999998</c:v>
                </c:pt>
                <c:pt idx="76">
                  <c:v>16.687999999999999</c:v>
                </c:pt>
                <c:pt idx="77">
                  <c:v>15.282</c:v>
                </c:pt>
                <c:pt idx="78">
                  <c:v>14.62</c:v>
                </c:pt>
                <c:pt idx="79">
                  <c:v>13.055999999999999</c:v>
                </c:pt>
                <c:pt idx="80">
                  <c:v>12.311</c:v>
                </c:pt>
                <c:pt idx="81">
                  <c:v>13.224</c:v>
                </c:pt>
                <c:pt idx="82">
                  <c:v>13.103</c:v>
                </c:pt>
                <c:pt idx="83">
                  <c:v>12.715999999999999</c:v>
                </c:pt>
                <c:pt idx="84">
                  <c:v>15.112</c:v>
                </c:pt>
                <c:pt idx="85">
                  <c:v>13.714</c:v>
                </c:pt>
                <c:pt idx="86">
                  <c:v>13.555</c:v>
                </c:pt>
                <c:pt idx="87">
                  <c:v>14.282999999999999</c:v>
                </c:pt>
                <c:pt idx="88">
                  <c:v>12.579000000000001</c:v>
                </c:pt>
                <c:pt idx="89">
                  <c:v>13.045</c:v>
                </c:pt>
                <c:pt idx="90">
                  <c:v>13.314</c:v>
                </c:pt>
                <c:pt idx="91">
                  <c:v>13.234</c:v>
                </c:pt>
                <c:pt idx="92">
                  <c:v>13.638</c:v>
                </c:pt>
                <c:pt idx="93">
                  <c:v>15.281000000000001</c:v>
                </c:pt>
                <c:pt idx="94">
                  <c:v>14.340999999999999</c:v>
                </c:pt>
                <c:pt idx="95">
                  <c:v>13.374000000000001</c:v>
                </c:pt>
                <c:pt idx="96">
                  <c:v>15.952</c:v>
                </c:pt>
                <c:pt idx="97">
                  <c:v>14.920999999999999</c:v>
                </c:pt>
                <c:pt idx="98">
                  <c:v>14.917999999999999</c:v>
                </c:pt>
                <c:pt idx="99">
                  <c:v>16.048999999999999</c:v>
                </c:pt>
                <c:pt idx="100">
                  <c:v>15.064</c:v>
                </c:pt>
                <c:pt idx="101">
                  <c:v>15.648999999999999</c:v>
                </c:pt>
                <c:pt idx="102">
                  <c:v>15.747</c:v>
                </c:pt>
                <c:pt idx="103">
                  <c:v>15.03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898-4252-86CA-AEAFD85EA31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ax val="20"/>
          <c:min val="8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Millions</a:t>
                </a:r>
              </a:p>
            </c:rich>
          </c:tx>
          <c:layout>
            <c:manualLayout>
              <c:xMode val="edge"/>
              <c:yMode val="edge"/>
              <c:x val="0"/>
              <c:y val="0.428485892388451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majorUnit val="2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u="none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Real retail</a:t>
            </a:r>
            <a:r>
              <a:rPr lang="en-US" sz="1800" b="1" u="none" baseline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automotive inventories</a:t>
            </a:r>
          </a:p>
          <a:p>
            <a:pPr algn="l">
              <a:defRPr/>
            </a:pPr>
            <a:r>
              <a:rPr lang="en-US" sz="1400" u="sng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Chained 2017 dollars</a:t>
            </a:r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</a:t>
            </a:r>
            <a:r>
              <a:rPr lang="en-US" sz="1400" baseline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s</a:t>
            </a:r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easonally adjusted, quarterly</a:t>
            </a:r>
          </a:p>
        </c:rich>
      </c:tx>
      <c:layout>
        <c:manualLayout>
          <c:xMode val="edge"/>
          <c:yMode val="edge"/>
          <c:x val="0.16482010061242344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6572524788568097"/>
          <c:y val="0.12250087489063867"/>
          <c:w val="0.79929261446485855"/>
          <c:h val="0.73665354330708677"/>
        </c:manualLayout>
      </c:layout>
      <c:lineChart>
        <c:grouping val="standard"/>
        <c:varyColors val="0"/>
        <c:ser>
          <c:idx val="0"/>
          <c:order val="0"/>
          <c:tx>
            <c:strRef>
              <c:f>'Real auto inventories'!$B$1</c:f>
              <c:strCache>
                <c:ptCount val="1"/>
                <c:pt idx="0">
                  <c:v> Inventories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auto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auto inventories'!$B$2:$B$35</c:f>
              <c:numCache>
                <c:formatCode>"$"#,##0.0</c:formatCode>
                <c:ptCount val="34"/>
                <c:pt idx="0">
                  <c:v>189.04499999999999</c:v>
                </c:pt>
                <c:pt idx="1">
                  <c:v>190.886</c:v>
                </c:pt>
                <c:pt idx="2">
                  <c:v>197.19399999999999</c:v>
                </c:pt>
                <c:pt idx="3">
                  <c:v>200.315</c:v>
                </c:pt>
                <c:pt idx="4">
                  <c:v>206.767</c:v>
                </c:pt>
                <c:pt idx="5">
                  <c:v>211.41900000000001</c:v>
                </c:pt>
                <c:pt idx="6">
                  <c:v>216.13900000000001</c:v>
                </c:pt>
                <c:pt idx="7">
                  <c:v>219.602</c:v>
                </c:pt>
                <c:pt idx="8">
                  <c:v>224.88300000000001</c:v>
                </c:pt>
                <c:pt idx="9">
                  <c:v>229.35599999999999</c:v>
                </c:pt>
                <c:pt idx="10">
                  <c:v>230.227</c:v>
                </c:pt>
                <c:pt idx="11">
                  <c:v>233.75299999999999</c:v>
                </c:pt>
                <c:pt idx="12">
                  <c:v>237.404</c:v>
                </c:pt>
                <c:pt idx="13">
                  <c:v>242.75899999999999</c:v>
                </c:pt>
                <c:pt idx="14">
                  <c:v>247.81899999999999</c:v>
                </c:pt>
                <c:pt idx="15">
                  <c:v>251.523</c:v>
                </c:pt>
                <c:pt idx="16">
                  <c:v>255.31100000000001</c:v>
                </c:pt>
                <c:pt idx="17">
                  <c:v>256.40800000000002</c:v>
                </c:pt>
                <c:pt idx="18">
                  <c:v>260.07600000000002</c:v>
                </c:pt>
                <c:pt idx="19">
                  <c:v>255.92699999999999</c:v>
                </c:pt>
                <c:pt idx="20">
                  <c:v>268.47000000000003</c:v>
                </c:pt>
                <c:pt idx="21">
                  <c:v>222.072</c:v>
                </c:pt>
                <c:pt idx="22">
                  <c:v>233.727</c:v>
                </c:pt>
                <c:pt idx="23">
                  <c:v>240.476</c:v>
                </c:pt>
                <c:pt idx="24">
                  <c:v>228.09700000000001</c:v>
                </c:pt>
                <c:pt idx="25">
                  <c:v>206.57900000000001</c:v>
                </c:pt>
                <c:pt idx="26">
                  <c:v>198.08</c:v>
                </c:pt>
                <c:pt idx="27">
                  <c:v>202.477</c:v>
                </c:pt>
                <c:pt idx="28">
                  <c:v>204.22499999999999</c:v>
                </c:pt>
                <c:pt idx="29">
                  <c:v>205.62100000000001</c:v>
                </c:pt>
                <c:pt idx="30">
                  <c:v>213.01300000000001</c:v>
                </c:pt>
                <c:pt idx="31">
                  <c:v>219.91300000000001</c:v>
                </c:pt>
                <c:pt idx="32">
                  <c:v>223.56899999999999</c:v>
                </c:pt>
                <c:pt idx="33">
                  <c:v>231.5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673-46EA-BE97-1D41C77F19B4}"/>
            </c:ext>
          </c:extLst>
        </c:ser>
        <c:ser>
          <c:idx val="1"/>
          <c:order val="1"/>
          <c:tx>
            <c:strRef>
              <c:f>'Real auto inventories'!$C$1</c:f>
              <c:strCache>
                <c:ptCount val="1"/>
                <c:pt idx="0">
                  <c:v> February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auto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auto inventories'!$C$2:$C$30</c:f>
              <c:numCache>
                <c:formatCode>General</c:formatCode>
                <c:ptCount val="29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673-46EA-BE97-1D41C77F19B4}"/>
            </c:ext>
          </c:extLst>
        </c:ser>
        <c:ser>
          <c:idx val="2"/>
          <c:order val="2"/>
          <c:tx>
            <c:strRef>
              <c:f>'Real auto inventories'!$D$1</c:f>
              <c:strCache>
                <c:ptCount val="1"/>
                <c:pt idx="0">
                  <c:v> Sales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auto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auto inventories'!$D$2:$D$30</c:f>
              <c:numCache>
                <c:formatCode>"$"#,##0.0_);[Red]\("$"#,##0.0\)</c:formatCode>
                <c:ptCount val="29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673-46EA-BE97-1D41C77F19B4}"/>
            </c:ext>
          </c:extLst>
        </c:ser>
        <c:ser>
          <c:idx val="3"/>
          <c:order val="3"/>
          <c:tx>
            <c:strRef>
              <c:f>'Real auto inventories'!$E$1</c:f>
              <c:strCache>
                <c:ptCount val="1"/>
                <c:pt idx="0">
                  <c:v> Q4 2019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auto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auto inventories'!$E$2:$E$35</c:f>
              <c:numCache>
                <c:formatCode>General</c:formatCode>
                <c:ptCount val="34"/>
                <c:pt idx="19" formatCode="&quot;$&quot;#,##0.0">
                  <c:v>255.92699999999999</c:v>
                </c:pt>
                <c:pt idx="20" formatCode="&quot;$&quot;#,##0.0">
                  <c:v>255.92699999999999</c:v>
                </c:pt>
                <c:pt idx="21" formatCode="&quot;$&quot;#,##0.0">
                  <c:v>255.92699999999999</c:v>
                </c:pt>
                <c:pt idx="22" formatCode="&quot;$&quot;#,##0.0">
                  <c:v>255.92699999999999</c:v>
                </c:pt>
                <c:pt idx="23" formatCode="&quot;$&quot;#,##0.0">
                  <c:v>255.92699999999999</c:v>
                </c:pt>
                <c:pt idx="24" formatCode="&quot;$&quot;#,##0.0">
                  <c:v>255.92699999999999</c:v>
                </c:pt>
                <c:pt idx="25" formatCode="&quot;$&quot;#,##0.0">
                  <c:v>255.92699999999999</c:v>
                </c:pt>
                <c:pt idx="26" formatCode="&quot;$&quot;#,##0.0">
                  <c:v>255.92699999999999</c:v>
                </c:pt>
                <c:pt idx="27" formatCode="&quot;$&quot;#,##0.0">
                  <c:v>255.92699999999999</c:v>
                </c:pt>
                <c:pt idx="28" formatCode="&quot;$&quot;#,##0.0">
                  <c:v>255.92699999999999</c:v>
                </c:pt>
                <c:pt idx="29" formatCode="&quot;$&quot;#,##0.0">
                  <c:v>255.92699999999999</c:v>
                </c:pt>
                <c:pt idx="30" formatCode="&quot;$&quot;#,##0.0">
                  <c:v>255.92699999999999</c:v>
                </c:pt>
                <c:pt idx="31" formatCode="&quot;$&quot;#,##0.0">
                  <c:v>255.92699999999999</c:v>
                </c:pt>
                <c:pt idx="32" formatCode="&quot;$&quot;#,##0.0">
                  <c:v>255.92699999999999</c:v>
                </c:pt>
                <c:pt idx="33" formatCode="&quot;$&quot;#,##0.0">
                  <c:v>255.9269999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673-46EA-BE97-1D41C77F19B4}"/>
            </c:ext>
          </c:extLst>
        </c:ser>
        <c:ser>
          <c:idx val="4"/>
          <c:order val="4"/>
          <c:tx>
            <c:strRef>
              <c:f>'Real auto inventories'!$F$1</c:f>
              <c:strCache>
                <c:ptCount val="1"/>
                <c:pt idx="0">
                  <c:v> Q4 2019</c:v>
                </c:pt>
              </c:strCache>
            </c:strRef>
          </c:tx>
          <c:spPr>
            <a:ln w="28575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Real auto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auto inventories'!$F$2:$F$30</c:f>
              <c:numCache>
                <c:formatCode>General</c:formatCode>
                <c:ptCount val="29"/>
                <c:pt idx="19" formatCode="&quot;$&quot;#,##0.0_);[Red]\(&quot;$&quot;#,##0.0\)">
                  <c:v>0</c:v>
                </c:pt>
                <c:pt idx="20" formatCode="&quot;$&quot;#,##0.0_);[Red]\(&quot;$&quot;#,##0.0\)">
                  <c:v>0</c:v>
                </c:pt>
                <c:pt idx="21" formatCode="&quot;$&quot;#,##0.0_);[Red]\(&quot;$&quot;#,##0.0\)">
                  <c:v>0</c:v>
                </c:pt>
                <c:pt idx="22" formatCode="&quot;$&quot;#,##0.0_);[Red]\(&quot;$&quot;#,##0.0\)">
                  <c:v>0</c:v>
                </c:pt>
                <c:pt idx="23" formatCode="&quot;$&quot;#,##0.0_);[Red]\(&quot;$&quot;#,##0.0\)">
                  <c:v>0</c:v>
                </c:pt>
                <c:pt idx="24" formatCode="&quot;$&quot;#,##0.0_);[Red]\(&quot;$&quot;#,##0.0\)">
                  <c:v>0</c:v>
                </c:pt>
                <c:pt idx="25" formatCode="&quot;$&quot;#,##0.0_);[Red]\(&quot;$&quot;#,##0.0\)">
                  <c:v>0</c:v>
                </c:pt>
                <c:pt idx="26" formatCode="&quot;$&quot;#,##0.0_);[Red]\(&quot;$&quot;#,##0.0\)">
                  <c:v>0</c:v>
                </c:pt>
                <c:pt idx="27" formatCode="&quot;$&quot;#,##0.0_);[Red]\(&quot;$&quot;#,##0.0\)">
                  <c:v>0</c:v>
                </c:pt>
                <c:pt idx="28" formatCode="&quot;$&quot;#,##0.0_);[Red]\(&quot;$&quot;#,##0.0\)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673-46EA-BE97-1D41C77F19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4"/>
        <c:noMultiLvlLbl val="0"/>
      </c:catAx>
      <c:valAx>
        <c:axId val="491790336"/>
        <c:scaling>
          <c:orientation val="minMax"/>
          <c:max val="300"/>
          <c:min val="14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Billions</a:t>
                </a:r>
              </a:p>
            </c:rich>
          </c:tx>
          <c:layout>
            <c:manualLayout>
              <c:xMode val="edge"/>
              <c:yMode val="edge"/>
              <c:x val="0"/>
              <c:y val="0.444531796806649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legend>
      <c:legendPos val="r"/>
      <c:legendEntry>
        <c:idx val="1"/>
        <c:delete val="1"/>
      </c:legendEntry>
      <c:legendEntry>
        <c:idx val="2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6689085739282589"/>
          <c:y val="0.77063013998250207"/>
          <c:w val="0.51373250218722655"/>
          <c:h val="7.9880358705161844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2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Index (100 = 2017)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 seasonally adjusted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6.5212446270303162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34831583552056E-2"/>
          <c:y val="7.180009562001774E-2"/>
          <c:w val="0.91930294039332061"/>
          <c:h val="0.78205511811023631"/>
        </c:manualLayout>
      </c:layout>
      <c:lineChart>
        <c:grouping val="standard"/>
        <c:varyColors val="0"/>
        <c:ser>
          <c:idx val="0"/>
          <c:order val="0"/>
          <c:tx>
            <c:strRef>
              <c:f>AutoManufacturing!$B$1</c:f>
              <c:strCache>
                <c:ptCount val="1"/>
                <c:pt idx="0">
                  <c:v> Index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AutoManufacturing!$A$2:$A$190</c:f>
              <c:numCache>
                <c:formatCode>m/d/yyyy</c:formatCode>
                <c:ptCount val="189"/>
                <c:pt idx="0">
                  <c:v>37986</c:v>
                </c:pt>
                <c:pt idx="1">
                  <c:v>38017</c:v>
                </c:pt>
                <c:pt idx="2">
                  <c:v>38046</c:v>
                </c:pt>
                <c:pt idx="3">
                  <c:v>38077</c:v>
                </c:pt>
                <c:pt idx="4">
                  <c:v>38107</c:v>
                </c:pt>
                <c:pt idx="5">
                  <c:v>38138</c:v>
                </c:pt>
                <c:pt idx="6">
                  <c:v>38168</c:v>
                </c:pt>
                <c:pt idx="7">
                  <c:v>38199</c:v>
                </c:pt>
                <c:pt idx="8">
                  <c:v>38230</c:v>
                </c:pt>
                <c:pt idx="9">
                  <c:v>38260</c:v>
                </c:pt>
                <c:pt idx="10">
                  <c:v>38291</c:v>
                </c:pt>
                <c:pt idx="11">
                  <c:v>38321</c:v>
                </c:pt>
                <c:pt idx="12">
                  <c:v>38352</c:v>
                </c:pt>
                <c:pt idx="13">
                  <c:v>38383</c:v>
                </c:pt>
                <c:pt idx="14">
                  <c:v>38411</c:v>
                </c:pt>
                <c:pt idx="15">
                  <c:v>38442</c:v>
                </c:pt>
                <c:pt idx="16">
                  <c:v>38472</c:v>
                </c:pt>
                <c:pt idx="17">
                  <c:v>38503</c:v>
                </c:pt>
                <c:pt idx="18">
                  <c:v>38533</c:v>
                </c:pt>
                <c:pt idx="19">
                  <c:v>38564</c:v>
                </c:pt>
                <c:pt idx="20">
                  <c:v>38595</c:v>
                </c:pt>
                <c:pt idx="21">
                  <c:v>38625</c:v>
                </c:pt>
                <c:pt idx="22">
                  <c:v>38656</c:v>
                </c:pt>
                <c:pt idx="23">
                  <c:v>38686</c:v>
                </c:pt>
                <c:pt idx="24">
                  <c:v>38717</c:v>
                </c:pt>
                <c:pt idx="25">
                  <c:v>38748</c:v>
                </c:pt>
                <c:pt idx="26">
                  <c:v>38776</c:v>
                </c:pt>
                <c:pt idx="27">
                  <c:v>38807</c:v>
                </c:pt>
                <c:pt idx="28">
                  <c:v>38837</c:v>
                </c:pt>
                <c:pt idx="29">
                  <c:v>38868</c:v>
                </c:pt>
                <c:pt idx="30">
                  <c:v>38898</c:v>
                </c:pt>
                <c:pt idx="31">
                  <c:v>38929</c:v>
                </c:pt>
                <c:pt idx="32">
                  <c:v>38960</c:v>
                </c:pt>
                <c:pt idx="33">
                  <c:v>38990</c:v>
                </c:pt>
                <c:pt idx="34">
                  <c:v>39021</c:v>
                </c:pt>
                <c:pt idx="35">
                  <c:v>39051</c:v>
                </c:pt>
                <c:pt idx="36">
                  <c:v>39082</c:v>
                </c:pt>
                <c:pt idx="37">
                  <c:v>39113</c:v>
                </c:pt>
                <c:pt idx="38">
                  <c:v>39141</c:v>
                </c:pt>
                <c:pt idx="39">
                  <c:v>39172</c:v>
                </c:pt>
                <c:pt idx="40">
                  <c:v>39202</c:v>
                </c:pt>
                <c:pt idx="41">
                  <c:v>39233</c:v>
                </c:pt>
                <c:pt idx="42">
                  <c:v>39263</c:v>
                </c:pt>
                <c:pt idx="43">
                  <c:v>39294</c:v>
                </c:pt>
                <c:pt idx="44">
                  <c:v>39325</c:v>
                </c:pt>
                <c:pt idx="45">
                  <c:v>39355</c:v>
                </c:pt>
                <c:pt idx="46">
                  <c:v>39386</c:v>
                </c:pt>
                <c:pt idx="47">
                  <c:v>39416</c:v>
                </c:pt>
                <c:pt idx="48">
                  <c:v>39447</c:v>
                </c:pt>
                <c:pt idx="49">
                  <c:v>39478</c:v>
                </c:pt>
                <c:pt idx="50">
                  <c:v>39507</c:v>
                </c:pt>
                <c:pt idx="51">
                  <c:v>39538</c:v>
                </c:pt>
                <c:pt idx="52">
                  <c:v>39568</c:v>
                </c:pt>
                <c:pt idx="53">
                  <c:v>39599</c:v>
                </c:pt>
                <c:pt idx="54">
                  <c:v>39629</c:v>
                </c:pt>
                <c:pt idx="55">
                  <c:v>39660</c:v>
                </c:pt>
                <c:pt idx="56">
                  <c:v>39691</c:v>
                </c:pt>
                <c:pt idx="57">
                  <c:v>39721</c:v>
                </c:pt>
                <c:pt idx="58">
                  <c:v>39752</c:v>
                </c:pt>
                <c:pt idx="59">
                  <c:v>39782</c:v>
                </c:pt>
                <c:pt idx="60">
                  <c:v>39813</c:v>
                </c:pt>
                <c:pt idx="61">
                  <c:v>39844</c:v>
                </c:pt>
                <c:pt idx="62">
                  <c:v>39872</c:v>
                </c:pt>
                <c:pt idx="63">
                  <c:v>39903</c:v>
                </c:pt>
                <c:pt idx="64">
                  <c:v>39933</c:v>
                </c:pt>
                <c:pt idx="65">
                  <c:v>39964</c:v>
                </c:pt>
                <c:pt idx="66">
                  <c:v>39994</c:v>
                </c:pt>
                <c:pt idx="67">
                  <c:v>40025</c:v>
                </c:pt>
                <c:pt idx="68">
                  <c:v>40056</c:v>
                </c:pt>
                <c:pt idx="69">
                  <c:v>40086</c:v>
                </c:pt>
                <c:pt idx="70">
                  <c:v>40117</c:v>
                </c:pt>
                <c:pt idx="71">
                  <c:v>40147</c:v>
                </c:pt>
                <c:pt idx="72">
                  <c:v>40178</c:v>
                </c:pt>
                <c:pt idx="73">
                  <c:v>40209</c:v>
                </c:pt>
                <c:pt idx="74">
                  <c:v>40237</c:v>
                </c:pt>
                <c:pt idx="75">
                  <c:v>40268</c:v>
                </c:pt>
                <c:pt idx="76">
                  <c:v>40298</c:v>
                </c:pt>
                <c:pt idx="77">
                  <c:v>40329</c:v>
                </c:pt>
                <c:pt idx="78">
                  <c:v>40359</c:v>
                </c:pt>
                <c:pt idx="79">
                  <c:v>40390</c:v>
                </c:pt>
                <c:pt idx="80">
                  <c:v>40421</c:v>
                </c:pt>
                <c:pt idx="81">
                  <c:v>40451</c:v>
                </c:pt>
                <c:pt idx="82">
                  <c:v>40482</c:v>
                </c:pt>
                <c:pt idx="83">
                  <c:v>40512</c:v>
                </c:pt>
                <c:pt idx="84">
                  <c:v>40543</c:v>
                </c:pt>
                <c:pt idx="85">
                  <c:v>40574</c:v>
                </c:pt>
                <c:pt idx="86">
                  <c:v>40602</c:v>
                </c:pt>
                <c:pt idx="87">
                  <c:v>40633</c:v>
                </c:pt>
                <c:pt idx="88">
                  <c:v>40663</c:v>
                </c:pt>
                <c:pt idx="89">
                  <c:v>40694</c:v>
                </c:pt>
                <c:pt idx="90">
                  <c:v>40724</c:v>
                </c:pt>
                <c:pt idx="91">
                  <c:v>40755</c:v>
                </c:pt>
                <c:pt idx="92">
                  <c:v>40786</c:v>
                </c:pt>
                <c:pt idx="93">
                  <c:v>40816</c:v>
                </c:pt>
                <c:pt idx="94">
                  <c:v>40847</c:v>
                </c:pt>
                <c:pt idx="95">
                  <c:v>40877</c:v>
                </c:pt>
                <c:pt idx="96">
                  <c:v>40908</c:v>
                </c:pt>
                <c:pt idx="97">
                  <c:v>40939</c:v>
                </c:pt>
                <c:pt idx="98">
                  <c:v>40968</c:v>
                </c:pt>
                <c:pt idx="99">
                  <c:v>40999</c:v>
                </c:pt>
                <c:pt idx="100">
                  <c:v>41029</c:v>
                </c:pt>
                <c:pt idx="101">
                  <c:v>41060</c:v>
                </c:pt>
                <c:pt idx="102">
                  <c:v>41090</c:v>
                </c:pt>
                <c:pt idx="103">
                  <c:v>41121</c:v>
                </c:pt>
                <c:pt idx="104">
                  <c:v>41152</c:v>
                </c:pt>
                <c:pt idx="105">
                  <c:v>41182</c:v>
                </c:pt>
                <c:pt idx="106">
                  <c:v>41213</c:v>
                </c:pt>
                <c:pt idx="107">
                  <c:v>41243</c:v>
                </c:pt>
                <c:pt idx="108">
                  <c:v>41274</c:v>
                </c:pt>
                <c:pt idx="109">
                  <c:v>41305</c:v>
                </c:pt>
                <c:pt idx="110">
                  <c:v>41333</c:v>
                </c:pt>
                <c:pt idx="111">
                  <c:v>41364</c:v>
                </c:pt>
                <c:pt idx="112">
                  <c:v>41394</c:v>
                </c:pt>
                <c:pt idx="113">
                  <c:v>41425</c:v>
                </c:pt>
                <c:pt idx="114">
                  <c:v>41455</c:v>
                </c:pt>
                <c:pt idx="115">
                  <c:v>41486</c:v>
                </c:pt>
                <c:pt idx="116">
                  <c:v>41517</c:v>
                </c:pt>
                <c:pt idx="117">
                  <c:v>41547</c:v>
                </c:pt>
                <c:pt idx="118">
                  <c:v>41578</c:v>
                </c:pt>
                <c:pt idx="119">
                  <c:v>41608</c:v>
                </c:pt>
                <c:pt idx="120">
                  <c:v>41639</c:v>
                </c:pt>
                <c:pt idx="121">
                  <c:v>41670</c:v>
                </c:pt>
                <c:pt idx="122">
                  <c:v>41698</c:v>
                </c:pt>
                <c:pt idx="123">
                  <c:v>41729</c:v>
                </c:pt>
                <c:pt idx="124">
                  <c:v>41759</c:v>
                </c:pt>
                <c:pt idx="125">
                  <c:v>41790</c:v>
                </c:pt>
                <c:pt idx="126">
                  <c:v>41820</c:v>
                </c:pt>
                <c:pt idx="127">
                  <c:v>41851</c:v>
                </c:pt>
                <c:pt idx="128">
                  <c:v>41882</c:v>
                </c:pt>
                <c:pt idx="129">
                  <c:v>41912</c:v>
                </c:pt>
                <c:pt idx="130">
                  <c:v>41943</c:v>
                </c:pt>
                <c:pt idx="131">
                  <c:v>41973</c:v>
                </c:pt>
                <c:pt idx="132">
                  <c:v>42004</c:v>
                </c:pt>
                <c:pt idx="133">
                  <c:v>42035</c:v>
                </c:pt>
                <c:pt idx="134">
                  <c:v>42063</c:v>
                </c:pt>
                <c:pt idx="135">
                  <c:v>42094</c:v>
                </c:pt>
                <c:pt idx="136">
                  <c:v>42124</c:v>
                </c:pt>
                <c:pt idx="137">
                  <c:v>42155</c:v>
                </c:pt>
                <c:pt idx="138">
                  <c:v>42185</c:v>
                </c:pt>
                <c:pt idx="139">
                  <c:v>42216</c:v>
                </c:pt>
                <c:pt idx="140">
                  <c:v>42247</c:v>
                </c:pt>
                <c:pt idx="141">
                  <c:v>42277</c:v>
                </c:pt>
                <c:pt idx="142">
                  <c:v>42308</c:v>
                </c:pt>
                <c:pt idx="143">
                  <c:v>42338</c:v>
                </c:pt>
                <c:pt idx="144">
                  <c:v>42369</c:v>
                </c:pt>
                <c:pt idx="145">
                  <c:v>42400</c:v>
                </c:pt>
                <c:pt idx="146">
                  <c:v>42429</c:v>
                </c:pt>
                <c:pt idx="147">
                  <c:v>42460</c:v>
                </c:pt>
                <c:pt idx="148">
                  <c:v>42490</c:v>
                </c:pt>
                <c:pt idx="149">
                  <c:v>42521</c:v>
                </c:pt>
                <c:pt idx="150">
                  <c:v>42551</c:v>
                </c:pt>
                <c:pt idx="151">
                  <c:v>42582</c:v>
                </c:pt>
                <c:pt idx="152">
                  <c:v>42613</c:v>
                </c:pt>
                <c:pt idx="153">
                  <c:v>42643</c:v>
                </c:pt>
                <c:pt idx="154">
                  <c:v>42674</c:v>
                </c:pt>
                <c:pt idx="155">
                  <c:v>42704</c:v>
                </c:pt>
                <c:pt idx="156">
                  <c:v>42735</c:v>
                </c:pt>
                <c:pt idx="157">
                  <c:v>42766</c:v>
                </c:pt>
                <c:pt idx="158">
                  <c:v>42794</c:v>
                </c:pt>
                <c:pt idx="159">
                  <c:v>42825</c:v>
                </c:pt>
                <c:pt idx="160">
                  <c:v>42855</c:v>
                </c:pt>
                <c:pt idx="161">
                  <c:v>42886</c:v>
                </c:pt>
                <c:pt idx="162">
                  <c:v>42916</c:v>
                </c:pt>
                <c:pt idx="163">
                  <c:v>42947</c:v>
                </c:pt>
                <c:pt idx="164">
                  <c:v>42978</c:v>
                </c:pt>
                <c:pt idx="165">
                  <c:v>43008</c:v>
                </c:pt>
                <c:pt idx="166">
                  <c:v>43039</c:v>
                </c:pt>
                <c:pt idx="167">
                  <c:v>43069</c:v>
                </c:pt>
                <c:pt idx="168">
                  <c:v>43100</c:v>
                </c:pt>
                <c:pt idx="169">
                  <c:v>43131</c:v>
                </c:pt>
                <c:pt idx="170">
                  <c:v>43159</c:v>
                </c:pt>
                <c:pt idx="171">
                  <c:v>43190</c:v>
                </c:pt>
                <c:pt idx="172">
                  <c:v>43220</c:v>
                </c:pt>
                <c:pt idx="173">
                  <c:v>43251</c:v>
                </c:pt>
                <c:pt idx="174">
                  <c:v>43281</c:v>
                </c:pt>
                <c:pt idx="175">
                  <c:v>43312</c:v>
                </c:pt>
                <c:pt idx="176">
                  <c:v>43343</c:v>
                </c:pt>
                <c:pt idx="177">
                  <c:v>43373</c:v>
                </c:pt>
                <c:pt idx="178">
                  <c:v>43404</c:v>
                </c:pt>
                <c:pt idx="179">
                  <c:v>43434</c:v>
                </c:pt>
                <c:pt idx="180">
                  <c:v>43465</c:v>
                </c:pt>
                <c:pt idx="181">
                  <c:v>43496</c:v>
                </c:pt>
                <c:pt idx="182">
                  <c:v>43524</c:v>
                </c:pt>
                <c:pt idx="183">
                  <c:v>43555</c:v>
                </c:pt>
                <c:pt idx="184">
                  <c:v>43585</c:v>
                </c:pt>
                <c:pt idx="185">
                  <c:v>43616</c:v>
                </c:pt>
                <c:pt idx="186">
                  <c:v>43646</c:v>
                </c:pt>
                <c:pt idx="187">
                  <c:v>43677</c:v>
                </c:pt>
                <c:pt idx="188">
                  <c:v>43708</c:v>
                </c:pt>
              </c:numCache>
            </c:numRef>
          </c:cat>
          <c:val>
            <c:numRef>
              <c:f>AutoManufacturing!$B$2:$B$190</c:f>
              <c:numCache>
                <c:formatCode>0.0</c:formatCode>
                <c:ptCount val="189"/>
                <c:pt idx="0">
                  <c:v>80.134600000000006</c:v>
                </c:pt>
                <c:pt idx="1">
                  <c:v>80.387500000000003</c:v>
                </c:pt>
                <c:pt idx="2">
                  <c:v>75.020399999999995</c:v>
                </c:pt>
                <c:pt idx="3">
                  <c:v>71.441100000000006</c:v>
                </c:pt>
                <c:pt idx="4">
                  <c:v>70.584800000000001</c:v>
                </c:pt>
                <c:pt idx="5">
                  <c:v>72.716099999999997</c:v>
                </c:pt>
                <c:pt idx="6">
                  <c:v>70.426500000000004</c:v>
                </c:pt>
                <c:pt idx="7">
                  <c:v>63.8431</c:v>
                </c:pt>
                <c:pt idx="8">
                  <c:v>64.213499999999996</c:v>
                </c:pt>
                <c:pt idx="9">
                  <c:v>61.783700000000003</c:v>
                </c:pt>
                <c:pt idx="10">
                  <c:v>59.447099999999999</c:v>
                </c:pt>
                <c:pt idx="11">
                  <c:v>55.743400000000001</c:v>
                </c:pt>
                <c:pt idx="12">
                  <c:v>39.060499999999998</c:v>
                </c:pt>
                <c:pt idx="13">
                  <c:v>44.438600000000001</c:v>
                </c:pt>
                <c:pt idx="14">
                  <c:v>45.268000000000001</c:v>
                </c:pt>
                <c:pt idx="15">
                  <c:v>45.840400000000002</c:v>
                </c:pt>
                <c:pt idx="16">
                  <c:v>40.816800000000001</c:v>
                </c:pt>
                <c:pt idx="17">
                  <c:v>39.418199999999999</c:v>
                </c:pt>
                <c:pt idx="18">
                  <c:v>51.983199999999997</c:v>
                </c:pt>
                <c:pt idx="19">
                  <c:v>54.0167</c:v>
                </c:pt>
                <c:pt idx="20">
                  <c:v>60.221899999999998</c:v>
                </c:pt>
                <c:pt idx="21">
                  <c:v>59.716000000000001</c:v>
                </c:pt>
                <c:pt idx="22">
                  <c:v>61.910800000000002</c:v>
                </c:pt>
                <c:pt idx="23">
                  <c:v>62.496099999999998</c:v>
                </c:pt>
                <c:pt idx="24">
                  <c:v>63.590400000000002</c:v>
                </c:pt>
                <c:pt idx="25">
                  <c:v>61.248100000000001</c:v>
                </c:pt>
                <c:pt idx="26">
                  <c:v>62.924100000000003</c:v>
                </c:pt>
                <c:pt idx="27">
                  <c:v>62.703600000000002</c:v>
                </c:pt>
                <c:pt idx="28">
                  <c:v>67.802999999999997</c:v>
                </c:pt>
                <c:pt idx="29">
                  <c:v>67.395700000000005</c:v>
                </c:pt>
                <c:pt idx="30">
                  <c:v>72.016800000000003</c:v>
                </c:pt>
                <c:pt idx="31">
                  <c:v>68.947599999999994</c:v>
                </c:pt>
                <c:pt idx="32">
                  <c:v>69.993200000000002</c:v>
                </c:pt>
                <c:pt idx="33">
                  <c:v>70.747299999999996</c:v>
                </c:pt>
                <c:pt idx="34">
                  <c:v>68.071399999999997</c:v>
                </c:pt>
                <c:pt idx="35">
                  <c:v>67.741299999999995</c:v>
                </c:pt>
                <c:pt idx="36">
                  <c:v>69.254900000000006</c:v>
                </c:pt>
                <c:pt idx="37">
                  <c:v>72.586600000000004</c:v>
                </c:pt>
                <c:pt idx="38">
                  <c:v>75.2273</c:v>
                </c:pt>
                <c:pt idx="39">
                  <c:v>68.995999999999995</c:v>
                </c:pt>
                <c:pt idx="40">
                  <c:v>70.043700000000001</c:v>
                </c:pt>
                <c:pt idx="41">
                  <c:v>70.144000000000005</c:v>
                </c:pt>
                <c:pt idx="42">
                  <c:v>72.171899999999994</c:v>
                </c:pt>
                <c:pt idx="43">
                  <c:v>74.036900000000003</c:v>
                </c:pt>
                <c:pt idx="44">
                  <c:v>74.225200000000001</c:v>
                </c:pt>
                <c:pt idx="45">
                  <c:v>77.757199999999997</c:v>
                </c:pt>
                <c:pt idx="46">
                  <c:v>75.839600000000004</c:v>
                </c:pt>
                <c:pt idx="47">
                  <c:v>77.6952</c:v>
                </c:pt>
                <c:pt idx="48">
                  <c:v>81.725300000000004</c:v>
                </c:pt>
                <c:pt idx="49">
                  <c:v>80.863</c:v>
                </c:pt>
                <c:pt idx="50">
                  <c:v>80.396000000000001</c:v>
                </c:pt>
                <c:pt idx="51">
                  <c:v>81.596599999999995</c:v>
                </c:pt>
                <c:pt idx="52">
                  <c:v>80.427000000000007</c:v>
                </c:pt>
                <c:pt idx="53">
                  <c:v>81.614800000000002</c:v>
                </c:pt>
                <c:pt idx="54">
                  <c:v>80.921400000000006</c:v>
                </c:pt>
                <c:pt idx="55">
                  <c:v>79.304100000000005</c:v>
                </c:pt>
                <c:pt idx="56">
                  <c:v>78.150800000000004</c:v>
                </c:pt>
                <c:pt idx="57">
                  <c:v>79.358999999999995</c:v>
                </c:pt>
                <c:pt idx="58">
                  <c:v>81.694800000000001</c:v>
                </c:pt>
                <c:pt idx="59">
                  <c:v>84.861199999999997</c:v>
                </c:pt>
                <c:pt idx="60">
                  <c:v>82.314999999999998</c:v>
                </c:pt>
                <c:pt idx="61">
                  <c:v>84.208600000000004</c:v>
                </c:pt>
                <c:pt idx="62">
                  <c:v>85.746499999999997</c:v>
                </c:pt>
                <c:pt idx="63">
                  <c:v>85.2654</c:v>
                </c:pt>
                <c:pt idx="64">
                  <c:v>85.884699999999995</c:v>
                </c:pt>
                <c:pt idx="65">
                  <c:v>87.578299999999999</c:v>
                </c:pt>
                <c:pt idx="66">
                  <c:v>82.215999999999994</c:v>
                </c:pt>
                <c:pt idx="67">
                  <c:v>87.843199999999996</c:v>
                </c:pt>
                <c:pt idx="68">
                  <c:v>89.586399999999998</c:v>
                </c:pt>
                <c:pt idx="69">
                  <c:v>88.732600000000005</c:v>
                </c:pt>
                <c:pt idx="70">
                  <c:v>90.831900000000005</c:v>
                </c:pt>
                <c:pt idx="71">
                  <c:v>91.046300000000002</c:v>
                </c:pt>
                <c:pt idx="72">
                  <c:v>85.9846</c:v>
                </c:pt>
                <c:pt idx="73">
                  <c:v>92.279499999999999</c:v>
                </c:pt>
                <c:pt idx="74">
                  <c:v>93.110699999999994</c:v>
                </c:pt>
                <c:pt idx="75">
                  <c:v>92.474900000000005</c:v>
                </c:pt>
                <c:pt idx="76">
                  <c:v>95.482600000000005</c:v>
                </c:pt>
                <c:pt idx="77">
                  <c:v>95.552199999999999</c:v>
                </c:pt>
                <c:pt idx="78">
                  <c:v>101.1194</c:v>
                </c:pt>
                <c:pt idx="79">
                  <c:v>96.147099999999995</c:v>
                </c:pt>
                <c:pt idx="80">
                  <c:v>94.490200000000002</c:v>
                </c:pt>
                <c:pt idx="81">
                  <c:v>93.793499999999995</c:v>
                </c:pt>
                <c:pt idx="82">
                  <c:v>98.590599999999995</c:v>
                </c:pt>
                <c:pt idx="83">
                  <c:v>97.569000000000003</c:v>
                </c:pt>
                <c:pt idx="84">
                  <c:v>97.690299999999993</c:v>
                </c:pt>
                <c:pt idx="85">
                  <c:v>93.787199999999999</c:v>
                </c:pt>
                <c:pt idx="86">
                  <c:v>98.307400000000001</c:v>
                </c:pt>
                <c:pt idx="87">
                  <c:v>99.165400000000005</c:v>
                </c:pt>
                <c:pt idx="88">
                  <c:v>102.87560000000001</c:v>
                </c:pt>
                <c:pt idx="89">
                  <c:v>97.875399999999999</c:v>
                </c:pt>
                <c:pt idx="90">
                  <c:v>106.74809999999999</c:v>
                </c:pt>
                <c:pt idx="91">
                  <c:v>101.0145</c:v>
                </c:pt>
                <c:pt idx="92">
                  <c:v>100.69410000000001</c:v>
                </c:pt>
                <c:pt idx="93">
                  <c:v>101.45820000000001</c:v>
                </c:pt>
                <c:pt idx="94">
                  <c:v>98.955500000000001</c:v>
                </c:pt>
                <c:pt idx="95">
                  <c:v>97.802400000000006</c:v>
                </c:pt>
                <c:pt idx="96">
                  <c:v>100.9868</c:v>
                </c:pt>
                <c:pt idx="97">
                  <c:v>100.1521</c:v>
                </c:pt>
                <c:pt idx="98">
                  <c:v>98.995900000000006</c:v>
                </c:pt>
                <c:pt idx="99">
                  <c:v>100.67829999999999</c:v>
                </c:pt>
                <c:pt idx="100">
                  <c:v>98.076999999999998</c:v>
                </c:pt>
                <c:pt idx="101">
                  <c:v>101.86150000000001</c:v>
                </c:pt>
                <c:pt idx="102">
                  <c:v>102.7496</c:v>
                </c:pt>
                <c:pt idx="103">
                  <c:v>101.7248</c:v>
                </c:pt>
                <c:pt idx="104">
                  <c:v>101.9241</c:v>
                </c:pt>
                <c:pt idx="105">
                  <c:v>102.6279</c:v>
                </c:pt>
                <c:pt idx="106">
                  <c:v>100.2731</c:v>
                </c:pt>
                <c:pt idx="107">
                  <c:v>101.37439999999999</c:v>
                </c:pt>
                <c:pt idx="108">
                  <c:v>101.23779999999999</c:v>
                </c:pt>
                <c:pt idx="109">
                  <c:v>101.0882</c:v>
                </c:pt>
                <c:pt idx="110">
                  <c:v>98.475300000000004</c:v>
                </c:pt>
                <c:pt idx="111">
                  <c:v>103.3019</c:v>
                </c:pt>
                <c:pt idx="112">
                  <c:v>102.0386</c:v>
                </c:pt>
                <c:pt idx="113">
                  <c:v>100.6802</c:v>
                </c:pt>
                <c:pt idx="114">
                  <c:v>95.684700000000007</c:v>
                </c:pt>
                <c:pt idx="115">
                  <c:v>97.917599999999993</c:v>
                </c:pt>
                <c:pt idx="116">
                  <c:v>99.336699999999993</c:v>
                </c:pt>
                <c:pt idx="117">
                  <c:v>100.8081</c:v>
                </c:pt>
                <c:pt idx="118">
                  <c:v>99.208399999999997</c:v>
                </c:pt>
                <c:pt idx="119">
                  <c:v>100.22239999999999</c:v>
                </c:pt>
                <c:pt idx="120">
                  <c:v>101.3308</c:v>
                </c:pt>
                <c:pt idx="121">
                  <c:v>104.3952</c:v>
                </c:pt>
                <c:pt idx="122">
                  <c:v>107.1147</c:v>
                </c:pt>
                <c:pt idx="123">
                  <c:v>106.8809</c:v>
                </c:pt>
                <c:pt idx="124">
                  <c:v>98.456199999999995</c:v>
                </c:pt>
                <c:pt idx="125">
                  <c:v>104.3912</c:v>
                </c:pt>
                <c:pt idx="126">
                  <c:v>99.258799999999994</c:v>
                </c:pt>
                <c:pt idx="127">
                  <c:v>104.0565</c:v>
                </c:pt>
                <c:pt idx="128">
                  <c:v>106.6427</c:v>
                </c:pt>
                <c:pt idx="129">
                  <c:v>104.3985</c:v>
                </c:pt>
                <c:pt idx="130">
                  <c:v>103.53959999999999</c:v>
                </c:pt>
                <c:pt idx="131">
                  <c:v>109.23609999999999</c:v>
                </c:pt>
                <c:pt idx="132">
                  <c:v>100.9233</c:v>
                </c:pt>
                <c:pt idx="133">
                  <c:v>103.0561</c:v>
                </c:pt>
                <c:pt idx="134">
                  <c:v>102.18680000000001</c:v>
                </c:pt>
                <c:pt idx="135">
                  <c:v>102.1245</c:v>
                </c:pt>
                <c:pt idx="136">
                  <c:v>103.6707</c:v>
                </c:pt>
                <c:pt idx="137">
                  <c:v>107.1413</c:v>
                </c:pt>
                <c:pt idx="138">
                  <c:v>103.979</c:v>
                </c:pt>
                <c:pt idx="139">
                  <c:v>105.1943</c:v>
                </c:pt>
                <c:pt idx="140">
                  <c:v>100.02979999999999</c:v>
                </c:pt>
                <c:pt idx="141">
                  <c:v>93.512299999999996</c:v>
                </c:pt>
                <c:pt idx="142">
                  <c:v>104.83240000000001</c:v>
                </c:pt>
                <c:pt idx="143">
                  <c:v>101.2422</c:v>
                </c:pt>
                <c:pt idx="144">
                  <c:v>103.129</c:v>
                </c:pt>
                <c:pt idx="145">
                  <c:v>108.0949</c:v>
                </c:pt>
                <c:pt idx="146">
                  <c:v>76.723200000000006</c:v>
                </c:pt>
                <c:pt idx="147">
                  <c:v>20.4879</c:v>
                </c:pt>
                <c:pt idx="148">
                  <c:v>39.414000000000001</c:v>
                </c:pt>
                <c:pt idx="149">
                  <c:v>85.637900000000002</c:v>
                </c:pt>
                <c:pt idx="150">
                  <c:v>108.0397</c:v>
                </c:pt>
                <c:pt idx="151">
                  <c:v>105.08410000000001</c:v>
                </c:pt>
                <c:pt idx="152">
                  <c:v>102.6949</c:v>
                </c:pt>
                <c:pt idx="153">
                  <c:v>101.01560000000001</c:v>
                </c:pt>
                <c:pt idx="154">
                  <c:v>102.7118</c:v>
                </c:pt>
                <c:pt idx="155">
                  <c:v>103.92400000000001</c:v>
                </c:pt>
                <c:pt idx="156">
                  <c:v>104.1396</c:v>
                </c:pt>
                <c:pt idx="157">
                  <c:v>94.505300000000005</c:v>
                </c:pt>
                <c:pt idx="158">
                  <c:v>96.114999999999995</c:v>
                </c:pt>
                <c:pt idx="159">
                  <c:v>90.067999999999998</c:v>
                </c:pt>
                <c:pt idx="160">
                  <c:v>93.095100000000002</c:v>
                </c:pt>
                <c:pt idx="161">
                  <c:v>90.2547</c:v>
                </c:pt>
                <c:pt idx="162">
                  <c:v>94.245199999999997</c:v>
                </c:pt>
                <c:pt idx="163">
                  <c:v>92.489599999999996</c:v>
                </c:pt>
                <c:pt idx="164">
                  <c:v>86.008099999999999</c:v>
                </c:pt>
                <c:pt idx="165">
                  <c:v>94.985699999999994</c:v>
                </c:pt>
                <c:pt idx="166">
                  <c:v>99.267899999999997</c:v>
                </c:pt>
                <c:pt idx="167">
                  <c:v>97.332599999999999</c:v>
                </c:pt>
                <c:pt idx="168">
                  <c:v>97.718299999999999</c:v>
                </c:pt>
                <c:pt idx="169">
                  <c:v>94.4221</c:v>
                </c:pt>
                <c:pt idx="170">
                  <c:v>100.5857</c:v>
                </c:pt>
                <c:pt idx="171">
                  <c:v>102.6073</c:v>
                </c:pt>
                <c:pt idx="172">
                  <c:v>101.9451</c:v>
                </c:pt>
                <c:pt idx="173">
                  <c:v>100.6771</c:v>
                </c:pt>
                <c:pt idx="174">
                  <c:v>104.03319999999999</c:v>
                </c:pt>
                <c:pt idx="175">
                  <c:v>103.0354</c:v>
                </c:pt>
                <c:pt idx="176">
                  <c:v>103.3145</c:v>
                </c:pt>
                <c:pt idx="177">
                  <c:v>105.6454</c:v>
                </c:pt>
                <c:pt idx="178">
                  <c:v>103.431</c:v>
                </c:pt>
                <c:pt idx="179">
                  <c:v>102.9025</c:v>
                </c:pt>
                <c:pt idx="180">
                  <c:v>104.5371</c:v>
                </c:pt>
                <c:pt idx="181">
                  <c:v>104.44929999999999</c:v>
                </c:pt>
                <c:pt idx="182">
                  <c:v>102.42700000000001</c:v>
                </c:pt>
                <c:pt idx="183">
                  <c:v>112.7454</c:v>
                </c:pt>
                <c:pt idx="184">
                  <c:v>113.6917</c:v>
                </c:pt>
                <c:pt idx="185">
                  <c:v>109.2038</c:v>
                </c:pt>
                <c:pt idx="186">
                  <c:v>114.82680000000001</c:v>
                </c:pt>
                <c:pt idx="187">
                  <c:v>109.0818</c:v>
                </c:pt>
                <c:pt idx="188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A07-4E43-B0B6-CEA90E3BDE6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dateAx>
        <c:axId val="491790992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Offset val="100"/>
        <c:baseTimeUnit val="months"/>
        <c:majorUnit val="12"/>
      </c:dateAx>
      <c:valAx>
        <c:axId val="491790336"/>
        <c:scaling>
          <c:orientation val="minMax"/>
          <c:max val="120"/>
          <c:min val="2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majorUnit val="10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u="sng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Chained 2017 dollars</a:t>
            </a: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 seasonally adjusted, quarterly</a:t>
            </a:r>
          </a:p>
        </c:rich>
      </c:tx>
      <c:layout>
        <c:manualLayout>
          <c:xMode val="edge"/>
          <c:yMode val="edge"/>
          <c:x val="9.6986001749781281E-2"/>
          <c:y val="1.9444444444444445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8297386739701009E-2"/>
          <c:y val="7.9552342202577828E-2"/>
          <c:w val="0.86874053786754901"/>
          <c:h val="0.77404680664916881"/>
        </c:manualLayout>
      </c:layout>
      <c:lineChart>
        <c:grouping val="standard"/>
        <c:varyColors val="0"/>
        <c:ser>
          <c:idx val="0"/>
          <c:order val="0"/>
          <c:tx>
            <c:strRef>
              <c:f>'Real retail inventories'!$B$1</c:f>
              <c:strCache>
                <c:ptCount val="1"/>
                <c:pt idx="0">
                  <c:v> Total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retail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retail inventories'!$B$2:$B$35</c:f>
              <c:numCache>
                <c:formatCode>"$"#,##0.0</c:formatCode>
                <c:ptCount val="34"/>
                <c:pt idx="0">
                  <c:v>589.77499999999998</c:v>
                </c:pt>
                <c:pt idx="1">
                  <c:v>596.89700000000005</c:v>
                </c:pt>
                <c:pt idx="2">
                  <c:v>610.56299999999999</c:v>
                </c:pt>
                <c:pt idx="3">
                  <c:v>616.84400000000005</c:v>
                </c:pt>
                <c:pt idx="4">
                  <c:v>625.82500000000005</c:v>
                </c:pt>
                <c:pt idx="5">
                  <c:v>631.49900000000002</c:v>
                </c:pt>
                <c:pt idx="6">
                  <c:v>638.36900000000003</c:v>
                </c:pt>
                <c:pt idx="7">
                  <c:v>643.49300000000005</c:v>
                </c:pt>
                <c:pt idx="8">
                  <c:v>648.64599999999996</c:v>
                </c:pt>
                <c:pt idx="9">
                  <c:v>653.79600000000005</c:v>
                </c:pt>
                <c:pt idx="10">
                  <c:v>654.90099999999995</c:v>
                </c:pt>
                <c:pt idx="11">
                  <c:v>661.423</c:v>
                </c:pt>
                <c:pt idx="12">
                  <c:v>663.77599999999995</c:v>
                </c:pt>
                <c:pt idx="13">
                  <c:v>671.48299999999995</c:v>
                </c:pt>
                <c:pt idx="14">
                  <c:v>676.702</c:v>
                </c:pt>
                <c:pt idx="15">
                  <c:v>688.16</c:v>
                </c:pt>
                <c:pt idx="16">
                  <c:v>692.54700000000003</c:v>
                </c:pt>
                <c:pt idx="17">
                  <c:v>692.78700000000003</c:v>
                </c:pt>
                <c:pt idx="18">
                  <c:v>696.28099999999995</c:v>
                </c:pt>
                <c:pt idx="19">
                  <c:v>694.41499999999996</c:v>
                </c:pt>
                <c:pt idx="20">
                  <c:v>703.43200000000002</c:v>
                </c:pt>
                <c:pt idx="21">
                  <c:v>640.06200000000001</c:v>
                </c:pt>
                <c:pt idx="22">
                  <c:v>660.32299999999998</c:v>
                </c:pt>
                <c:pt idx="23">
                  <c:v>680.95500000000004</c:v>
                </c:pt>
                <c:pt idx="24">
                  <c:v>675.33</c:v>
                </c:pt>
                <c:pt idx="25">
                  <c:v>657.72900000000004</c:v>
                </c:pt>
                <c:pt idx="26">
                  <c:v>659.57899999999995</c:v>
                </c:pt>
                <c:pt idx="27">
                  <c:v>684.22500000000002</c:v>
                </c:pt>
                <c:pt idx="28">
                  <c:v>712.822</c:v>
                </c:pt>
                <c:pt idx="29">
                  <c:v>726.28800000000001</c:v>
                </c:pt>
                <c:pt idx="30">
                  <c:v>728.04100000000005</c:v>
                </c:pt>
                <c:pt idx="31">
                  <c:v>728.48400000000004</c:v>
                </c:pt>
                <c:pt idx="32">
                  <c:v>729.73500000000001</c:v>
                </c:pt>
                <c:pt idx="33">
                  <c:v>735.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F73-4995-B30E-82D3596597AD}"/>
            </c:ext>
          </c:extLst>
        </c:ser>
        <c:ser>
          <c:idx val="1"/>
          <c:order val="1"/>
          <c:tx>
            <c:strRef>
              <c:f>'Real retail inventories'!$C$1</c:f>
              <c:strCache>
                <c:ptCount val="1"/>
                <c:pt idx="0">
                  <c:v> February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retail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retail inventories'!$C$2:$C$31</c:f>
              <c:numCache>
                <c:formatCode>General</c:formatCode>
                <c:ptCount val="30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F73-4995-B30E-82D3596597AD}"/>
            </c:ext>
          </c:extLst>
        </c:ser>
        <c:ser>
          <c:idx val="2"/>
          <c:order val="2"/>
          <c:tx>
            <c:strRef>
              <c:f>'Real retail inventories'!$D$1</c:f>
              <c:strCache>
                <c:ptCount val="1"/>
                <c:pt idx="0">
                  <c:v> Excluding auto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retail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retail inventories'!$D$2:$D$35</c:f>
              <c:numCache>
                <c:formatCode>"$"#,##0.0_);[Red]\("$"#,##0.0\)</c:formatCode>
                <c:ptCount val="34"/>
                <c:pt idx="0">
                  <c:v>400.73</c:v>
                </c:pt>
                <c:pt idx="1">
                  <c:v>406.01100000000008</c:v>
                </c:pt>
                <c:pt idx="2">
                  <c:v>413.36900000000003</c:v>
                </c:pt>
                <c:pt idx="3">
                  <c:v>416.52900000000005</c:v>
                </c:pt>
                <c:pt idx="4">
                  <c:v>419.05800000000005</c:v>
                </c:pt>
                <c:pt idx="5">
                  <c:v>420.08000000000004</c:v>
                </c:pt>
                <c:pt idx="6">
                  <c:v>422.23</c:v>
                </c:pt>
                <c:pt idx="7">
                  <c:v>423.89100000000008</c:v>
                </c:pt>
                <c:pt idx="8">
                  <c:v>423.76299999999992</c:v>
                </c:pt>
                <c:pt idx="9">
                  <c:v>424.44000000000005</c:v>
                </c:pt>
                <c:pt idx="10">
                  <c:v>424.67399999999998</c:v>
                </c:pt>
                <c:pt idx="11">
                  <c:v>427.67</c:v>
                </c:pt>
                <c:pt idx="12">
                  <c:v>426.37199999999996</c:v>
                </c:pt>
                <c:pt idx="13">
                  <c:v>428.72399999999993</c:v>
                </c:pt>
                <c:pt idx="14">
                  <c:v>428.88300000000004</c:v>
                </c:pt>
                <c:pt idx="15">
                  <c:v>436.63699999999994</c:v>
                </c:pt>
                <c:pt idx="16">
                  <c:v>437.23599999999999</c:v>
                </c:pt>
                <c:pt idx="17">
                  <c:v>436.37900000000002</c:v>
                </c:pt>
                <c:pt idx="18">
                  <c:v>436.20499999999993</c:v>
                </c:pt>
                <c:pt idx="19">
                  <c:v>438.48799999999994</c:v>
                </c:pt>
                <c:pt idx="20">
                  <c:v>434.96199999999999</c:v>
                </c:pt>
                <c:pt idx="21">
                  <c:v>417.99</c:v>
                </c:pt>
                <c:pt idx="22">
                  <c:v>426.596</c:v>
                </c:pt>
                <c:pt idx="23">
                  <c:v>440.47900000000004</c:v>
                </c:pt>
                <c:pt idx="24">
                  <c:v>447.23300000000006</c:v>
                </c:pt>
                <c:pt idx="25">
                  <c:v>451.15000000000003</c:v>
                </c:pt>
                <c:pt idx="26">
                  <c:v>461.49899999999991</c:v>
                </c:pt>
                <c:pt idx="27">
                  <c:v>481.74800000000005</c:v>
                </c:pt>
                <c:pt idx="28">
                  <c:v>508.59699999999998</c:v>
                </c:pt>
                <c:pt idx="29">
                  <c:v>520.66700000000003</c:v>
                </c:pt>
                <c:pt idx="30">
                  <c:v>515.02800000000002</c:v>
                </c:pt>
                <c:pt idx="31">
                  <c:v>508.57100000000003</c:v>
                </c:pt>
                <c:pt idx="32">
                  <c:v>506.16600000000005</c:v>
                </c:pt>
                <c:pt idx="33">
                  <c:v>504.381000000000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F73-4995-B30E-82D3596597AD}"/>
            </c:ext>
          </c:extLst>
        </c:ser>
        <c:ser>
          <c:idx val="3"/>
          <c:order val="3"/>
          <c:tx>
            <c:strRef>
              <c:f>'Real retail inventories'!$E$1</c:f>
              <c:strCache>
                <c:ptCount val="1"/>
                <c:pt idx="0">
                  <c:v> Q4 2019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Real retail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retail inventories'!$E$2:$E$35</c:f>
              <c:numCache>
                <c:formatCode>General</c:formatCode>
                <c:ptCount val="34"/>
                <c:pt idx="19" formatCode="&quot;$&quot;#,##0.0">
                  <c:v>694.41499999999996</c:v>
                </c:pt>
                <c:pt idx="20" formatCode="&quot;$&quot;#,##0.0">
                  <c:v>694.41499999999996</c:v>
                </c:pt>
                <c:pt idx="21" formatCode="&quot;$&quot;#,##0.0">
                  <c:v>694.41499999999996</c:v>
                </c:pt>
                <c:pt idx="22" formatCode="&quot;$&quot;#,##0.0">
                  <c:v>694.41499999999996</c:v>
                </c:pt>
                <c:pt idx="23" formatCode="&quot;$&quot;#,##0.0">
                  <c:v>694.41499999999996</c:v>
                </c:pt>
                <c:pt idx="24" formatCode="&quot;$&quot;#,##0.0">
                  <c:v>694.41499999999996</c:v>
                </c:pt>
                <c:pt idx="25" formatCode="&quot;$&quot;#,##0.0">
                  <c:v>694.41499999999996</c:v>
                </c:pt>
                <c:pt idx="26" formatCode="&quot;$&quot;#,##0.0">
                  <c:v>694.41499999999996</c:v>
                </c:pt>
                <c:pt idx="27" formatCode="&quot;$&quot;#,##0.0">
                  <c:v>694.41499999999996</c:v>
                </c:pt>
                <c:pt idx="28" formatCode="&quot;$&quot;#,##0.0">
                  <c:v>694.41499999999996</c:v>
                </c:pt>
                <c:pt idx="29" formatCode="&quot;$&quot;#,##0.0">
                  <c:v>694.41499999999996</c:v>
                </c:pt>
                <c:pt idx="30" formatCode="&quot;$&quot;#,##0.0">
                  <c:v>694.41499999999996</c:v>
                </c:pt>
                <c:pt idx="31" formatCode="&quot;$&quot;#,##0.0">
                  <c:v>694.41499999999996</c:v>
                </c:pt>
                <c:pt idx="32" formatCode="&quot;$&quot;#,##0.0">
                  <c:v>694.41499999999996</c:v>
                </c:pt>
                <c:pt idx="33" formatCode="&quot;$&quot;#,##0.0">
                  <c:v>694.4149999999999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F73-4995-B30E-82D3596597AD}"/>
            </c:ext>
          </c:extLst>
        </c:ser>
        <c:ser>
          <c:idx val="4"/>
          <c:order val="4"/>
          <c:tx>
            <c:strRef>
              <c:f>'Real retail inventories'!$F$1</c:f>
              <c:strCache>
                <c:ptCount val="1"/>
                <c:pt idx="0">
                  <c:v> Q4 2019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strRef>
              <c:f>'Real retail inventories'!$A$2:$A$35</c:f>
              <c:strCache>
                <c:ptCount val="34"/>
                <c:pt idx="0">
                  <c:v>2015</c:v>
                </c:pt>
                <c:pt idx="1">
                  <c:v>Q2</c:v>
                </c:pt>
                <c:pt idx="2">
                  <c:v>Q3</c:v>
                </c:pt>
                <c:pt idx="3">
                  <c:v>Q4</c:v>
                </c:pt>
                <c:pt idx="4">
                  <c:v>2016</c:v>
                </c:pt>
                <c:pt idx="5">
                  <c:v>Q2</c:v>
                </c:pt>
                <c:pt idx="6">
                  <c:v>Q3</c:v>
                </c:pt>
                <c:pt idx="7">
                  <c:v>Q4</c:v>
                </c:pt>
                <c:pt idx="8">
                  <c:v>2017</c:v>
                </c:pt>
                <c:pt idx="9">
                  <c:v>Q2</c:v>
                </c:pt>
                <c:pt idx="10">
                  <c:v>Q3</c:v>
                </c:pt>
                <c:pt idx="11">
                  <c:v>Q4</c:v>
                </c:pt>
                <c:pt idx="12">
                  <c:v>2018</c:v>
                </c:pt>
                <c:pt idx="13">
                  <c:v>Q2</c:v>
                </c:pt>
                <c:pt idx="14">
                  <c:v>Q3</c:v>
                </c:pt>
                <c:pt idx="15">
                  <c:v>Q4</c:v>
                </c:pt>
                <c:pt idx="16">
                  <c:v>2019</c:v>
                </c:pt>
                <c:pt idx="17">
                  <c:v>Q2</c:v>
                </c:pt>
                <c:pt idx="18">
                  <c:v>Q3</c:v>
                </c:pt>
                <c:pt idx="19">
                  <c:v>Q4</c:v>
                </c:pt>
                <c:pt idx="20">
                  <c:v>2020</c:v>
                </c:pt>
                <c:pt idx="21">
                  <c:v>Q2</c:v>
                </c:pt>
                <c:pt idx="22">
                  <c:v>Q3</c:v>
                </c:pt>
                <c:pt idx="23">
                  <c:v>Q4</c:v>
                </c:pt>
                <c:pt idx="24">
                  <c:v>2021</c:v>
                </c:pt>
                <c:pt idx="25">
                  <c:v>Q2</c:v>
                </c:pt>
                <c:pt idx="26">
                  <c:v>Q3</c:v>
                </c:pt>
                <c:pt idx="27">
                  <c:v>Q4</c:v>
                </c:pt>
                <c:pt idx="28">
                  <c:v>2022</c:v>
                </c:pt>
                <c:pt idx="29">
                  <c:v>Q2</c:v>
                </c:pt>
                <c:pt idx="30">
                  <c:v>Q3</c:v>
                </c:pt>
                <c:pt idx="31">
                  <c:v>Q4</c:v>
                </c:pt>
                <c:pt idx="32">
                  <c:v>2023</c:v>
                </c:pt>
                <c:pt idx="33">
                  <c:v>Q2</c:v>
                </c:pt>
              </c:strCache>
            </c:strRef>
          </c:cat>
          <c:val>
            <c:numRef>
              <c:f>'Real retail inventories'!$F$2:$F$35</c:f>
              <c:numCache>
                <c:formatCode>General</c:formatCode>
                <c:ptCount val="34"/>
                <c:pt idx="19" formatCode="&quot;$&quot;#,##0.0_);[Red]\(&quot;$&quot;#,##0.0\)">
                  <c:v>438.48799999999994</c:v>
                </c:pt>
                <c:pt idx="20" formatCode="&quot;$&quot;#,##0.0_);[Red]\(&quot;$&quot;#,##0.0\)">
                  <c:v>438.48799999999994</c:v>
                </c:pt>
                <c:pt idx="21" formatCode="&quot;$&quot;#,##0.0_);[Red]\(&quot;$&quot;#,##0.0\)">
                  <c:v>438.48799999999994</c:v>
                </c:pt>
                <c:pt idx="22" formatCode="&quot;$&quot;#,##0.0_);[Red]\(&quot;$&quot;#,##0.0\)">
                  <c:v>438.48799999999994</c:v>
                </c:pt>
                <c:pt idx="23" formatCode="&quot;$&quot;#,##0.0_);[Red]\(&quot;$&quot;#,##0.0\)">
                  <c:v>438.48799999999994</c:v>
                </c:pt>
                <c:pt idx="24" formatCode="&quot;$&quot;#,##0.0_);[Red]\(&quot;$&quot;#,##0.0\)">
                  <c:v>438.48799999999994</c:v>
                </c:pt>
                <c:pt idx="25" formatCode="&quot;$&quot;#,##0.0_);[Red]\(&quot;$&quot;#,##0.0\)">
                  <c:v>438.48799999999994</c:v>
                </c:pt>
                <c:pt idx="26" formatCode="&quot;$&quot;#,##0.0_);[Red]\(&quot;$&quot;#,##0.0\)">
                  <c:v>438.48799999999994</c:v>
                </c:pt>
                <c:pt idx="27" formatCode="&quot;$&quot;#,##0.0_);[Red]\(&quot;$&quot;#,##0.0\)">
                  <c:v>438.48799999999994</c:v>
                </c:pt>
                <c:pt idx="28" formatCode="&quot;$&quot;#,##0.0_);[Red]\(&quot;$&quot;#,##0.0\)">
                  <c:v>438.48799999999994</c:v>
                </c:pt>
                <c:pt idx="29" formatCode="&quot;$&quot;#,##0.0_);[Red]\(&quot;$&quot;#,##0.0\)">
                  <c:v>438.48799999999994</c:v>
                </c:pt>
                <c:pt idx="30" formatCode="&quot;$&quot;#,##0.0_);[Red]\(&quot;$&quot;#,##0.0\)">
                  <c:v>438.48799999999994</c:v>
                </c:pt>
                <c:pt idx="31" formatCode="&quot;$&quot;#,##0.0_);[Red]\(&quot;$&quot;#,##0.0\)">
                  <c:v>438.48799999999994</c:v>
                </c:pt>
                <c:pt idx="32" formatCode="&quot;$&quot;#,##0.0_);[Red]\(&quot;$&quot;#,##0.0\)">
                  <c:v>438.48799999999994</c:v>
                </c:pt>
                <c:pt idx="33" formatCode="&quot;$&quot;#,##0.0_);[Red]\(&quot;$&quot;#,##0.0\)">
                  <c:v>438.487999999999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1F73-4995-B30E-82D3596597A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4"/>
        <c:noMultiLvlLbl val="0"/>
      </c:catAx>
      <c:valAx>
        <c:axId val="491790336"/>
        <c:scaling>
          <c:orientation val="minMax"/>
          <c:max val="800"/>
          <c:min val="35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600">
                    <a:solidFill>
                      <a:sysClr val="windowText" lastClr="000000"/>
                    </a:solidFill>
                  </a:rPr>
                  <a:t>Billions</a:t>
                </a:r>
              </a:p>
            </c:rich>
          </c:tx>
          <c:layout>
            <c:manualLayout>
              <c:xMode val="edge"/>
              <c:yMode val="edge"/>
              <c:x val="0"/>
              <c:y val="0.444531796806649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legend>
      <c:legendPos val="r"/>
      <c:legendEntry>
        <c:idx val="1"/>
        <c:delete val="1"/>
      </c:legendEntry>
      <c:legendEntry>
        <c:idx val="4"/>
        <c:delete val="1"/>
      </c:legendEntry>
      <c:layout>
        <c:manualLayout>
          <c:xMode val="edge"/>
          <c:yMode val="edge"/>
          <c:x val="0.1010695538057743"/>
          <c:y val="8.8792432195975504E-2"/>
          <c:w val="0.37665515995283194"/>
          <c:h val="8.2658136482939626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Seasonally adjusted</a:t>
            </a:r>
          </a:p>
        </c:rich>
      </c:tx>
      <c:layout>
        <c:manualLayout>
          <c:xMode val="edge"/>
          <c:yMode val="edge"/>
          <c:x val="5.2569697924533018E-2"/>
          <c:y val="5.5308638534312367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0428882629051083E-2"/>
          <c:y val="7.4743219597550301E-2"/>
          <c:w val="0.91720987886229155"/>
          <c:h val="0.76942782152230971"/>
        </c:manualLayout>
      </c:layout>
      <c:lineChart>
        <c:grouping val="standard"/>
        <c:varyColors val="0"/>
        <c:ser>
          <c:idx val="2"/>
          <c:order val="0"/>
          <c:tx>
            <c:strRef>
              <c:f>'I-to-S ratios-ExAuto'!$D$1</c:f>
              <c:strCache>
                <c:ptCount val="1"/>
                <c:pt idx="0">
                  <c:v> Wholesale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'I-to-S ratios-ExAuto'!$A$2:$A$165</c:f>
              <c:numCache>
                <c:formatCode>General</c:formatCode>
                <c:ptCount val="164"/>
                <c:pt idx="0">
                  <c:v>2010</c:v>
                </c:pt>
                <c:pt idx="12">
                  <c:v>2011</c:v>
                </c:pt>
                <c:pt idx="24">
                  <c:v>2012</c:v>
                </c:pt>
                <c:pt idx="36">
                  <c:v>2013</c:v>
                </c:pt>
                <c:pt idx="48">
                  <c:v>2014</c:v>
                </c:pt>
                <c:pt idx="60">
                  <c:v>2015</c:v>
                </c:pt>
                <c:pt idx="72">
                  <c:v>2016</c:v>
                </c:pt>
                <c:pt idx="84">
                  <c:v>2017</c:v>
                </c:pt>
                <c:pt idx="96">
                  <c:v>2018</c:v>
                </c:pt>
                <c:pt idx="108">
                  <c:v>2019</c:v>
                </c:pt>
                <c:pt idx="120">
                  <c:v>2020</c:v>
                </c:pt>
                <c:pt idx="121" formatCode="m/d/yyyy">
                  <c:v>42400</c:v>
                </c:pt>
                <c:pt idx="122" formatCode="m/d/yyyy">
                  <c:v>42429</c:v>
                </c:pt>
                <c:pt idx="123" formatCode="m/d/yyyy">
                  <c:v>42460</c:v>
                </c:pt>
                <c:pt idx="124" formatCode="m/d/yyyy">
                  <c:v>42490</c:v>
                </c:pt>
                <c:pt idx="125" formatCode="m/d/yyyy">
                  <c:v>42521</c:v>
                </c:pt>
                <c:pt idx="126" formatCode="m/d/yyyy">
                  <c:v>42551</c:v>
                </c:pt>
                <c:pt idx="127" formatCode="m/d/yyyy">
                  <c:v>42582</c:v>
                </c:pt>
                <c:pt idx="128" formatCode="m/d/yyyy">
                  <c:v>42613</c:v>
                </c:pt>
                <c:pt idx="129" formatCode="m/d/yyyy">
                  <c:v>42643</c:v>
                </c:pt>
                <c:pt idx="130" formatCode="m/d/yyyy">
                  <c:v>42674</c:v>
                </c:pt>
                <c:pt idx="131" formatCode="m/d/yyyy">
                  <c:v>42704</c:v>
                </c:pt>
                <c:pt idx="132">
                  <c:v>2021</c:v>
                </c:pt>
                <c:pt idx="133" formatCode="m/d/yyyy">
                  <c:v>42766</c:v>
                </c:pt>
                <c:pt idx="134" formatCode="m/d/yyyy">
                  <c:v>42794</c:v>
                </c:pt>
                <c:pt idx="135" formatCode="m/d/yyyy">
                  <c:v>42825</c:v>
                </c:pt>
                <c:pt idx="136" formatCode="m/d/yyyy">
                  <c:v>42855</c:v>
                </c:pt>
                <c:pt idx="137" formatCode="m/d/yyyy">
                  <c:v>42886</c:v>
                </c:pt>
                <c:pt idx="138" formatCode="m/d/yyyy">
                  <c:v>42916</c:v>
                </c:pt>
                <c:pt idx="139" formatCode="m/d/yyyy">
                  <c:v>42947</c:v>
                </c:pt>
                <c:pt idx="140" formatCode="m/d/yyyy">
                  <c:v>42978</c:v>
                </c:pt>
                <c:pt idx="141" formatCode="m/d/yyyy">
                  <c:v>43008</c:v>
                </c:pt>
                <c:pt idx="142" formatCode="m/d/yyyy">
                  <c:v>43039</c:v>
                </c:pt>
                <c:pt idx="143" formatCode="m/d/yyyy">
                  <c:v>43069</c:v>
                </c:pt>
                <c:pt idx="144">
                  <c:v>2022</c:v>
                </c:pt>
                <c:pt idx="145" formatCode="m/d/yyyy">
                  <c:v>43131</c:v>
                </c:pt>
                <c:pt idx="146" formatCode="m/d/yyyy">
                  <c:v>43159</c:v>
                </c:pt>
                <c:pt idx="147" formatCode="m/d/yyyy">
                  <c:v>43190</c:v>
                </c:pt>
                <c:pt idx="148" formatCode="m/d/yyyy">
                  <c:v>43220</c:v>
                </c:pt>
                <c:pt idx="149" formatCode="m/d/yyyy">
                  <c:v>43251</c:v>
                </c:pt>
                <c:pt idx="150" formatCode="m/d/yyyy">
                  <c:v>43281</c:v>
                </c:pt>
                <c:pt idx="151" formatCode="m/d/yyyy">
                  <c:v>43312</c:v>
                </c:pt>
                <c:pt idx="152" formatCode="m/d/yyyy">
                  <c:v>43343</c:v>
                </c:pt>
                <c:pt idx="153" formatCode="m/d/yyyy">
                  <c:v>43373</c:v>
                </c:pt>
                <c:pt idx="154" formatCode="m/d/yyyy">
                  <c:v>43404</c:v>
                </c:pt>
                <c:pt idx="155" formatCode="m/d/yyyy">
                  <c:v>43434</c:v>
                </c:pt>
                <c:pt idx="156">
                  <c:v>2023</c:v>
                </c:pt>
                <c:pt idx="157" formatCode="m/d/yyyy">
                  <c:v>43496</c:v>
                </c:pt>
                <c:pt idx="158" formatCode="m/d/yyyy">
                  <c:v>43524</c:v>
                </c:pt>
                <c:pt idx="159" formatCode="m/d/yyyy">
                  <c:v>43555</c:v>
                </c:pt>
                <c:pt idx="160" formatCode="m/d/yyyy">
                  <c:v>43585</c:v>
                </c:pt>
                <c:pt idx="161" formatCode="m/d/yyyy">
                  <c:v>43616</c:v>
                </c:pt>
                <c:pt idx="162" formatCode="m/d/yyyy">
                  <c:v>43646</c:v>
                </c:pt>
              </c:numCache>
            </c:numRef>
          </c:cat>
          <c:val>
            <c:numRef>
              <c:f>'I-to-S ratios-ExAuto'!$D$2:$D$165</c:f>
              <c:numCache>
                <c:formatCode>0.00</c:formatCode>
                <c:ptCount val="164"/>
                <c:pt idx="0">
                  <c:v>1.1599999999999999</c:v>
                </c:pt>
                <c:pt idx="1">
                  <c:v>1.1499999999999999</c:v>
                </c:pt>
                <c:pt idx="2">
                  <c:v>1.1399999999999999</c:v>
                </c:pt>
                <c:pt idx="3">
                  <c:v>1.1299999999999999</c:v>
                </c:pt>
                <c:pt idx="4">
                  <c:v>1.1399999999999999</c:v>
                </c:pt>
                <c:pt idx="5">
                  <c:v>1.1399999999999999</c:v>
                </c:pt>
                <c:pt idx="6">
                  <c:v>1.1499999999999999</c:v>
                </c:pt>
                <c:pt idx="7">
                  <c:v>1.1499999999999999</c:v>
                </c:pt>
                <c:pt idx="8">
                  <c:v>1.17</c:v>
                </c:pt>
                <c:pt idx="9">
                  <c:v>1.1599999999999999</c:v>
                </c:pt>
                <c:pt idx="10">
                  <c:v>1.1499999999999999</c:v>
                </c:pt>
                <c:pt idx="11">
                  <c:v>1.17</c:v>
                </c:pt>
                <c:pt idx="12">
                  <c:v>1.1299999999999999</c:v>
                </c:pt>
                <c:pt idx="13">
                  <c:v>1.1599999999999999</c:v>
                </c:pt>
                <c:pt idx="14">
                  <c:v>1.1399999999999999</c:v>
                </c:pt>
                <c:pt idx="15">
                  <c:v>1.1299999999999999</c:v>
                </c:pt>
                <c:pt idx="16">
                  <c:v>1.17</c:v>
                </c:pt>
                <c:pt idx="17">
                  <c:v>1.17</c:v>
                </c:pt>
                <c:pt idx="18">
                  <c:v>1.17</c:v>
                </c:pt>
                <c:pt idx="19">
                  <c:v>1.1599999999999999</c:v>
                </c:pt>
                <c:pt idx="20">
                  <c:v>1.1499999999999999</c:v>
                </c:pt>
                <c:pt idx="21">
                  <c:v>1.1499999999999999</c:v>
                </c:pt>
                <c:pt idx="22">
                  <c:v>1.1599999999999999</c:v>
                </c:pt>
                <c:pt idx="23">
                  <c:v>1.1599999999999999</c:v>
                </c:pt>
                <c:pt idx="24">
                  <c:v>1.1499999999999999</c:v>
                </c:pt>
                <c:pt idx="25">
                  <c:v>1.1499999999999999</c:v>
                </c:pt>
                <c:pt idx="26">
                  <c:v>1.1499999999999999</c:v>
                </c:pt>
                <c:pt idx="27">
                  <c:v>1.1399999999999999</c:v>
                </c:pt>
                <c:pt idx="28">
                  <c:v>1.17</c:v>
                </c:pt>
                <c:pt idx="29">
                  <c:v>1.19</c:v>
                </c:pt>
                <c:pt idx="30">
                  <c:v>1.2</c:v>
                </c:pt>
                <c:pt idx="31">
                  <c:v>1.2</c:v>
                </c:pt>
                <c:pt idx="32">
                  <c:v>1.19</c:v>
                </c:pt>
                <c:pt idx="33">
                  <c:v>1.2</c:v>
                </c:pt>
                <c:pt idx="34">
                  <c:v>1.19</c:v>
                </c:pt>
                <c:pt idx="35">
                  <c:v>1.19</c:v>
                </c:pt>
                <c:pt idx="36">
                  <c:v>1.19</c:v>
                </c:pt>
                <c:pt idx="37">
                  <c:v>1.18</c:v>
                </c:pt>
                <c:pt idx="38">
                  <c:v>1.19</c:v>
                </c:pt>
                <c:pt idx="39">
                  <c:v>1.21</c:v>
                </c:pt>
                <c:pt idx="40">
                  <c:v>1.18</c:v>
                </c:pt>
                <c:pt idx="41">
                  <c:v>1.18</c:v>
                </c:pt>
                <c:pt idx="42">
                  <c:v>1.19</c:v>
                </c:pt>
                <c:pt idx="43">
                  <c:v>1.19</c:v>
                </c:pt>
                <c:pt idx="44">
                  <c:v>1.19</c:v>
                </c:pt>
                <c:pt idx="45">
                  <c:v>1.19</c:v>
                </c:pt>
                <c:pt idx="46">
                  <c:v>1.19</c:v>
                </c:pt>
                <c:pt idx="47">
                  <c:v>1.19</c:v>
                </c:pt>
                <c:pt idx="48">
                  <c:v>1.22</c:v>
                </c:pt>
                <c:pt idx="49">
                  <c:v>1.22</c:v>
                </c:pt>
                <c:pt idx="50">
                  <c:v>1.21</c:v>
                </c:pt>
                <c:pt idx="51">
                  <c:v>1.21</c:v>
                </c:pt>
                <c:pt idx="52">
                  <c:v>1.2</c:v>
                </c:pt>
                <c:pt idx="53">
                  <c:v>1.21</c:v>
                </c:pt>
                <c:pt idx="54">
                  <c:v>1.2</c:v>
                </c:pt>
                <c:pt idx="55">
                  <c:v>1.22</c:v>
                </c:pt>
                <c:pt idx="56">
                  <c:v>1.22</c:v>
                </c:pt>
                <c:pt idx="57">
                  <c:v>1.23</c:v>
                </c:pt>
                <c:pt idx="58">
                  <c:v>1.25</c:v>
                </c:pt>
                <c:pt idx="59">
                  <c:v>1.27</c:v>
                </c:pt>
                <c:pt idx="60">
                  <c:v>1.3</c:v>
                </c:pt>
                <c:pt idx="61">
                  <c:v>1.32</c:v>
                </c:pt>
                <c:pt idx="62">
                  <c:v>1.33</c:v>
                </c:pt>
                <c:pt idx="63">
                  <c:v>1.32</c:v>
                </c:pt>
                <c:pt idx="64">
                  <c:v>1.32</c:v>
                </c:pt>
                <c:pt idx="65">
                  <c:v>1.33</c:v>
                </c:pt>
                <c:pt idx="66">
                  <c:v>1.33</c:v>
                </c:pt>
                <c:pt idx="67">
                  <c:v>1.34</c:v>
                </c:pt>
                <c:pt idx="68">
                  <c:v>1.34</c:v>
                </c:pt>
                <c:pt idx="69">
                  <c:v>1.34</c:v>
                </c:pt>
                <c:pt idx="70">
                  <c:v>1.36</c:v>
                </c:pt>
                <c:pt idx="71">
                  <c:v>1.36</c:v>
                </c:pt>
                <c:pt idx="72">
                  <c:v>1.38</c:v>
                </c:pt>
                <c:pt idx="73">
                  <c:v>1.38</c:v>
                </c:pt>
                <c:pt idx="74">
                  <c:v>1.37</c:v>
                </c:pt>
                <c:pt idx="75">
                  <c:v>1.37</c:v>
                </c:pt>
                <c:pt idx="76">
                  <c:v>1.38</c:v>
                </c:pt>
                <c:pt idx="77">
                  <c:v>1.35</c:v>
                </c:pt>
                <c:pt idx="78">
                  <c:v>1.35</c:v>
                </c:pt>
                <c:pt idx="79">
                  <c:v>1.34</c:v>
                </c:pt>
                <c:pt idx="80">
                  <c:v>1.35</c:v>
                </c:pt>
                <c:pt idx="81">
                  <c:v>1.33</c:v>
                </c:pt>
                <c:pt idx="82">
                  <c:v>1.34</c:v>
                </c:pt>
                <c:pt idx="83">
                  <c:v>1.32</c:v>
                </c:pt>
                <c:pt idx="84">
                  <c:v>1.31</c:v>
                </c:pt>
                <c:pt idx="85">
                  <c:v>1.31</c:v>
                </c:pt>
                <c:pt idx="86">
                  <c:v>1.32</c:v>
                </c:pt>
                <c:pt idx="87">
                  <c:v>1.31</c:v>
                </c:pt>
                <c:pt idx="88">
                  <c:v>1.33</c:v>
                </c:pt>
                <c:pt idx="89">
                  <c:v>1.33</c:v>
                </c:pt>
                <c:pt idx="90">
                  <c:v>1.33</c:v>
                </c:pt>
                <c:pt idx="91">
                  <c:v>1.32</c:v>
                </c:pt>
                <c:pt idx="92">
                  <c:v>1.31</c:v>
                </c:pt>
                <c:pt idx="93">
                  <c:v>1.29</c:v>
                </c:pt>
                <c:pt idx="94">
                  <c:v>1.28</c:v>
                </c:pt>
                <c:pt idx="95">
                  <c:v>1.25</c:v>
                </c:pt>
                <c:pt idx="96">
                  <c:v>1.29</c:v>
                </c:pt>
                <c:pt idx="97">
                  <c:v>1.29</c:v>
                </c:pt>
                <c:pt idx="98">
                  <c:v>1.3</c:v>
                </c:pt>
                <c:pt idx="99">
                  <c:v>1.28</c:v>
                </c:pt>
                <c:pt idx="100">
                  <c:v>1.25</c:v>
                </c:pt>
                <c:pt idx="101">
                  <c:v>1.26</c:v>
                </c:pt>
                <c:pt idx="102">
                  <c:v>1.26</c:v>
                </c:pt>
                <c:pt idx="103">
                  <c:v>1.27</c:v>
                </c:pt>
                <c:pt idx="104">
                  <c:v>1.28</c:v>
                </c:pt>
                <c:pt idx="105">
                  <c:v>1.28</c:v>
                </c:pt>
                <c:pt idx="106">
                  <c:v>1.3</c:v>
                </c:pt>
                <c:pt idx="107">
                  <c:v>1.33</c:v>
                </c:pt>
                <c:pt idx="108">
                  <c:v>1.35</c:v>
                </c:pt>
                <c:pt idx="109">
                  <c:v>1.35</c:v>
                </c:pt>
                <c:pt idx="110">
                  <c:v>1.34</c:v>
                </c:pt>
                <c:pt idx="111">
                  <c:v>1.35</c:v>
                </c:pt>
                <c:pt idx="112">
                  <c:v>1.34</c:v>
                </c:pt>
                <c:pt idx="113">
                  <c:v>1.36</c:v>
                </c:pt>
                <c:pt idx="114">
                  <c:v>1.35</c:v>
                </c:pt>
                <c:pt idx="115">
                  <c:v>1.35</c:v>
                </c:pt>
                <c:pt idx="116">
                  <c:v>1.35</c:v>
                </c:pt>
                <c:pt idx="117">
                  <c:v>1.36</c:v>
                </c:pt>
                <c:pt idx="118">
                  <c:v>1.34</c:v>
                </c:pt>
                <c:pt idx="119">
                  <c:v>1.34</c:v>
                </c:pt>
                <c:pt idx="120">
                  <c:v>1.32</c:v>
                </c:pt>
                <c:pt idx="121">
                  <c:v>1.32</c:v>
                </c:pt>
                <c:pt idx="122">
                  <c:v>1.39</c:v>
                </c:pt>
                <c:pt idx="123">
                  <c:v>1.67</c:v>
                </c:pt>
                <c:pt idx="124">
                  <c:v>1.55</c:v>
                </c:pt>
                <c:pt idx="125">
                  <c:v>1.4</c:v>
                </c:pt>
                <c:pt idx="126">
                  <c:v>1.33</c:v>
                </c:pt>
                <c:pt idx="127">
                  <c:v>1.31</c:v>
                </c:pt>
                <c:pt idx="128">
                  <c:v>1.32</c:v>
                </c:pt>
                <c:pt idx="129">
                  <c:v>1.3</c:v>
                </c:pt>
                <c:pt idx="130">
                  <c:v>1.3</c:v>
                </c:pt>
                <c:pt idx="131">
                  <c:v>1.28</c:v>
                </c:pt>
                <c:pt idx="132">
                  <c:v>1.24</c:v>
                </c:pt>
                <c:pt idx="133">
                  <c:v>1.27</c:v>
                </c:pt>
                <c:pt idx="134">
                  <c:v>1.24</c:v>
                </c:pt>
                <c:pt idx="135">
                  <c:v>1.23</c:v>
                </c:pt>
                <c:pt idx="136">
                  <c:v>1.24</c:v>
                </c:pt>
                <c:pt idx="137">
                  <c:v>1.23</c:v>
                </c:pt>
                <c:pt idx="138">
                  <c:v>1.21</c:v>
                </c:pt>
                <c:pt idx="139">
                  <c:v>1.23</c:v>
                </c:pt>
                <c:pt idx="140">
                  <c:v>1.23</c:v>
                </c:pt>
                <c:pt idx="141">
                  <c:v>1.23</c:v>
                </c:pt>
                <c:pt idx="142">
                  <c:v>1.23</c:v>
                </c:pt>
                <c:pt idx="143">
                  <c:v>1.25</c:v>
                </c:pt>
                <c:pt idx="144">
                  <c:v>1.22</c:v>
                </c:pt>
                <c:pt idx="145">
                  <c:v>1.24</c:v>
                </c:pt>
                <c:pt idx="146">
                  <c:v>1.25</c:v>
                </c:pt>
                <c:pt idx="147">
                  <c:v>1.27</c:v>
                </c:pt>
                <c:pt idx="148">
                  <c:v>1.3</c:v>
                </c:pt>
                <c:pt idx="149">
                  <c:v>1.3</c:v>
                </c:pt>
                <c:pt idx="150">
                  <c:v>1.33</c:v>
                </c:pt>
                <c:pt idx="151">
                  <c:v>1.35</c:v>
                </c:pt>
                <c:pt idx="152">
                  <c:v>1.35</c:v>
                </c:pt>
                <c:pt idx="153">
                  <c:v>1.36</c:v>
                </c:pt>
                <c:pt idx="154">
                  <c:v>1.39</c:v>
                </c:pt>
                <c:pt idx="155">
                  <c:v>1.39</c:v>
                </c:pt>
                <c:pt idx="156">
                  <c:v>1.38</c:v>
                </c:pt>
                <c:pt idx="157">
                  <c:v>1.37</c:v>
                </c:pt>
                <c:pt idx="158">
                  <c:v>1.41</c:v>
                </c:pt>
                <c:pt idx="159">
                  <c:v>1.4</c:v>
                </c:pt>
                <c:pt idx="160">
                  <c:v>1.4</c:v>
                </c:pt>
                <c:pt idx="161">
                  <c:v>1.41</c:v>
                </c:pt>
                <c:pt idx="162">
                  <c:v>1.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7949-46C6-8DEE-0EFBE6AFF1FC}"/>
            </c:ext>
          </c:extLst>
        </c:ser>
        <c:ser>
          <c:idx val="3"/>
          <c:order val="1"/>
          <c:tx>
            <c:strRef>
              <c:f>'I-to-S ratios-ExAuto'!$E$1</c:f>
              <c:strCache>
                <c:ptCount val="1"/>
                <c:pt idx="0">
                  <c:v> Retail (excl. auto)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'I-to-S ratios-ExAuto'!$A$2:$A$165</c:f>
              <c:numCache>
                <c:formatCode>General</c:formatCode>
                <c:ptCount val="164"/>
                <c:pt idx="0">
                  <c:v>2010</c:v>
                </c:pt>
                <c:pt idx="12">
                  <c:v>2011</c:v>
                </c:pt>
                <c:pt idx="24">
                  <c:v>2012</c:v>
                </c:pt>
                <c:pt idx="36">
                  <c:v>2013</c:v>
                </c:pt>
                <c:pt idx="48">
                  <c:v>2014</c:v>
                </c:pt>
                <c:pt idx="60">
                  <c:v>2015</c:v>
                </c:pt>
                <c:pt idx="72">
                  <c:v>2016</c:v>
                </c:pt>
                <c:pt idx="84">
                  <c:v>2017</c:v>
                </c:pt>
                <c:pt idx="96">
                  <c:v>2018</c:v>
                </c:pt>
                <c:pt idx="108">
                  <c:v>2019</c:v>
                </c:pt>
                <c:pt idx="120">
                  <c:v>2020</c:v>
                </c:pt>
                <c:pt idx="121" formatCode="m/d/yyyy">
                  <c:v>42400</c:v>
                </c:pt>
                <c:pt idx="122" formatCode="m/d/yyyy">
                  <c:v>42429</c:v>
                </c:pt>
                <c:pt idx="123" formatCode="m/d/yyyy">
                  <c:v>42460</c:v>
                </c:pt>
                <c:pt idx="124" formatCode="m/d/yyyy">
                  <c:v>42490</c:v>
                </c:pt>
                <c:pt idx="125" formatCode="m/d/yyyy">
                  <c:v>42521</c:v>
                </c:pt>
                <c:pt idx="126" formatCode="m/d/yyyy">
                  <c:v>42551</c:v>
                </c:pt>
                <c:pt idx="127" formatCode="m/d/yyyy">
                  <c:v>42582</c:v>
                </c:pt>
                <c:pt idx="128" formatCode="m/d/yyyy">
                  <c:v>42613</c:v>
                </c:pt>
                <c:pt idx="129" formatCode="m/d/yyyy">
                  <c:v>42643</c:v>
                </c:pt>
                <c:pt idx="130" formatCode="m/d/yyyy">
                  <c:v>42674</c:v>
                </c:pt>
                <c:pt idx="131" formatCode="m/d/yyyy">
                  <c:v>42704</c:v>
                </c:pt>
                <c:pt idx="132">
                  <c:v>2021</c:v>
                </c:pt>
                <c:pt idx="133" formatCode="m/d/yyyy">
                  <c:v>42766</c:v>
                </c:pt>
                <c:pt idx="134" formatCode="m/d/yyyy">
                  <c:v>42794</c:v>
                </c:pt>
                <c:pt idx="135" formatCode="m/d/yyyy">
                  <c:v>42825</c:v>
                </c:pt>
                <c:pt idx="136" formatCode="m/d/yyyy">
                  <c:v>42855</c:v>
                </c:pt>
                <c:pt idx="137" formatCode="m/d/yyyy">
                  <c:v>42886</c:v>
                </c:pt>
                <c:pt idx="138" formatCode="m/d/yyyy">
                  <c:v>42916</c:v>
                </c:pt>
                <c:pt idx="139" formatCode="m/d/yyyy">
                  <c:v>42947</c:v>
                </c:pt>
                <c:pt idx="140" formatCode="m/d/yyyy">
                  <c:v>42978</c:v>
                </c:pt>
                <c:pt idx="141" formatCode="m/d/yyyy">
                  <c:v>43008</c:v>
                </c:pt>
                <c:pt idx="142" formatCode="m/d/yyyy">
                  <c:v>43039</c:v>
                </c:pt>
                <c:pt idx="143" formatCode="m/d/yyyy">
                  <c:v>43069</c:v>
                </c:pt>
                <c:pt idx="144">
                  <c:v>2022</c:v>
                </c:pt>
                <c:pt idx="145" formatCode="m/d/yyyy">
                  <c:v>43131</c:v>
                </c:pt>
                <c:pt idx="146" formatCode="m/d/yyyy">
                  <c:v>43159</c:v>
                </c:pt>
                <c:pt idx="147" formatCode="m/d/yyyy">
                  <c:v>43190</c:v>
                </c:pt>
                <c:pt idx="148" formatCode="m/d/yyyy">
                  <c:v>43220</c:v>
                </c:pt>
                <c:pt idx="149" formatCode="m/d/yyyy">
                  <c:v>43251</c:v>
                </c:pt>
                <c:pt idx="150" formatCode="m/d/yyyy">
                  <c:v>43281</c:v>
                </c:pt>
                <c:pt idx="151" formatCode="m/d/yyyy">
                  <c:v>43312</c:v>
                </c:pt>
                <c:pt idx="152" formatCode="m/d/yyyy">
                  <c:v>43343</c:v>
                </c:pt>
                <c:pt idx="153" formatCode="m/d/yyyy">
                  <c:v>43373</c:v>
                </c:pt>
                <c:pt idx="154" formatCode="m/d/yyyy">
                  <c:v>43404</c:v>
                </c:pt>
                <c:pt idx="155" formatCode="m/d/yyyy">
                  <c:v>43434</c:v>
                </c:pt>
                <c:pt idx="156">
                  <c:v>2023</c:v>
                </c:pt>
                <c:pt idx="157" formatCode="m/d/yyyy">
                  <c:v>43496</c:v>
                </c:pt>
                <c:pt idx="158" formatCode="m/d/yyyy">
                  <c:v>43524</c:v>
                </c:pt>
                <c:pt idx="159" formatCode="m/d/yyyy">
                  <c:v>43555</c:v>
                </c:pt>
                <c:pt idx="160" formatCode="m/d/yyyy">
                  <c:v>43585</c:v>
                </c:pt>
                <c:pt idx="161" formatCode="m/d/yyyy">
                  <c:v>43616</c:v>
                </c:pt>
                <c:pt idx="162" formatCode="m/d/yyyy">
                  <c:v>43646</c:v>
                </c:pt>
              </c:numCache>
            </c:numRef>
          </c:cat>
          <c:val>
            <c:numRef>
              <c:f>'I-to-S ratios-ExAuto'!$E$2:$E$165</c:f>
              <c:numCache>
                <c:formatCode>0.00</c:formatCode>
                <c:ptCount val="164"/>
                <c:pt idx="0">
                  <c:v>1.2567457950614338</c:v>
                </c:pt>
                <c:pt idx="1">
                  <c:v>1.2498654168909717</c:v>
                </c:pt>
                <c:pt idx="2">
                  <c:v>1.2474109118297791</c:v>
                </c:pt>
                <c:pt idx="3">
                  <c:v>1.2445820192345132</c:v>
                </c:pt>
                <c:pt idx="4">
                  <c:v>1.262739474544688</c:v>
                </c:pt>
                <c:pt idx="5">
                  <c:v>1.2665122537317555</c:v>
                </c:pt>
                <c:pt idx="6">
                  <c:v>1.2732948479696335</c:v>
                </c:pt>
                <c:pt idx="7">
                  <c:v>1.2689852658703191</c:v>
                </c:pt>
                <c:pt idx="8">
                  <c:v>1.2638274659549182</c:v>
                </c:pt>
                <c:pt idx="9">
                  <c:v>1.2543775707858404</c:v>
                </c:pt>
                <c:pt idx="10">
                  <c:v>1.2449316135238409</c:v>
                </c:pt>
                <c:pt idx="11">
                  <c:v>1.2382785905563036</c:v>
                </c:pt>
                <c:pt idx="12">
                  <c:v>1.2371061896307887</c:v>
                </c:pt>
                <c:pt idx="13">
                  <c:v>1.2296940878940812</c:v>
                </c:pt>
                <c:pt idx="14">
                  <c:v>1.2301630173377041</c:v>
                </c:pt>
                <c:pt idx="15">
                  <c:v>1.2215055417591514</c:v>
                </c:pt>
                <c:pt idx="16">
                  <c:v>1.2245210223071461</c:v>
                </c:pt>
                <c:pt idx="17">
                  <c:v>1.2189959501795675</c:v>
                </c:pt>
                <c:pt idx="18">
                  <c:v>1.2190335843976277</c:v>
                </c:pt>
                <c:pt idx="19">
                  <c:v>1.2197627141962368</c:v>
                </c:pt>
                <c:pt idx="20">
                  <c:v>1.2176295396715244</c:v>
                </c:pt>
                <c:pt idx="21">
                  <c:v>1.2161226223559733</c:v>
                </c:pt>
                <c:pt idx="22">
                  <c:v>1.2159522186748932</c:v>
                </c:pt>
                <c:pt idx="23">
                  <c:v>1.2195868950989626</c:v>
                </c:pt>
                <c:pt idx="24">
                  <c:v>1.2070559246836299</c:v>
                </c:pt>
                <c:pt idx="25">
                  <c:v>1.1963613109961773</c:v>
                </c:pt>
                <c:pt idx="26">
                  <c:v>1.1929900022030822</c:v>
                </c:pt>
                <c:pt idx="27">
                  <c:v>1.205960846251203</c:v>
                </c:pt>
                <c:pt idx="28">
                  <c:v>1.2204969384283932</c:v>
                </c:pt>
                <c:pt idx="29">
                  <c:v>1.2336200670713831</c:v>
                </c:pt>
                <c:pt idx="30">
                  <c:v>1.2352664392424422</c:v>
                </c:pt>
                <c:pt idx="31">
                  <c:v>1.2197876753260448</c:v>
                </c:pt>
                <c:pt idx="32">
                  <c:v>1.2151686709491523</c:v>
                </c:pt>
                <c:pt idx="33">
                  <c:v>1.2152562159148328</c:v>
                </c:pt>
                <c:pt idx="34">
                  <c:v>1.2146639752613835</c:v>
                </c:pt>
                <c:pt idx="35">
                  <c:v>1.2185474471601287</c:v>
                </c:pt>
                <c:pt idx="36">
                  <c:v>1.2242683930584664</c:v>
                </c:pt>
                <c:pt idx="37">
                  <c:v>1.2111463339809796</c:v>
                </c:pt>
                <c:pt idx="38">
                  <c:v>1.2163086943974935</c:v>
                </c:pt>
                <c:pt idx="39">
                  <c:v>1.2316183472007258</c:v>
                </c:pt>
                <c:pt idx="40">
                  <c:v>1.2302323895778469</c:v>
                </c:pt>
                <c:pt idx="41">
                  <c:v>1.2342223742540936</c:v>
                </c:pt>
                <c:pt idx="42">
                  <c:v>1.2315030150857189</c:v>
                </c:pt>
                <c:pt idx="43">
                  <c:v>1.2386378871162353</c:v>
                </c:pt>
                <c:pt idx="44">
                  <c:v>1.239884848152915</c:v>
                </c:pt>
                <c:pt idx="45">
                  <c:v>1.2426889661908598</c:v>
                </c:pt>
                <c:pt idx="46">
                  <c:v>1.2522210763269068</c:v>
                </c:pt>
                <c:pt idx="47">
                  <c:v>1.2426067184233087</c:v>
                </c:pt>
                <c:pt idx="48">
                  <c:v>1.2529584842764088</c:v>
                </c:pt>
                <c:pt idx="49">
                  <c:v>1.2434736909482309</c:v>
                </c:pt>
                <c:pt idx="50">
                  <c:v>1.2454192525724725</c:v>
                </c:pt>
                <c:pt idx="51">
                  <c:v>1.2320705004091899</c:v>
                </c:pt>
                <c:pt idx="52">
                  <c:v>1.2341067077123566</c:v>
                </c:pt>
                <c:pt idx="53">
                  <c:v>1.2337977626468823</c:v>
                </c:pt>
                <c:pt idx="54">
                  <c:v>1.2391335356852597</c:v>
                </c:pt>
                <c:pt idx="55">
                  <c:v>1.2319218905849318</c:v>
                </c:pt>
                <c:pt idx="56">
                  <c:v>1.2352857717917076</c:v>
                </c:pt>
                <c:pt idx="57">
                  <c:v>1.2373672490578966</c:v>
                </c:pt>
                <c:pt idx="58">
                  <c:v>1.2383559838563545</c:v>
                </c:pt>
                <c:pt idx="59">
                  <c:v>1.2490703104730607</c:v>
                </c:pt>
                <c:pt idx="60">
                  <c:v>1.2655587678331952</c:v>
                </c:pt>
                <c:pt idx="61">
                  <c:v>1.2700812122678928</c:v>
                </c:pt>
                <c:pt idx="62">
                  <c:v>1.2607768687691014</c:v>
                </c:pt>
                <c:pt idx="63">
                  <c:v>1.2706576587708429</c:v>
                </c:pt>
                <c:pt idx="64">
                  <c:v>1.2598507853143079</c:v>
                </c:pt>
                <c:pt idx="65">
                  <c:v>1.2633253094910593</c:v>
                </c:pt>
                <c:pt idx="66">
                  <c:v>1.254261647302239</c:v>
                </c:pt>
                <c:pt idx="67">
                  <c:v>1.2652237722976101</c:v>
                </c:pt>
                <c:pt idx="68">
                  <c:v>1.2835560470413732</c:v>
                </c:pt>
                <c:pt idx="69">
                  <c:v>1.2921265172580849</c:v>
                </c:pt>
                <c:pt idx="70">
                  <c:v>1.291933015812031</c:v>
                </c:pt>
                <c:pt idx="71">
                  <c:v>1.2834795967481389</c:v>
                </c:pt>
                <c:pt idx="72">
                  <c:v>1.2970610884660834</c:v>
                </c:pt>
                <c:pt idx="73">
                  <c:v>1.2930240711219299</c:v>
                </c:pt>
                <c:pt idx="74">
                  <c:v>1.2919408952801339</c:v>
                </c:pt>
                <c:pt idx="75">
                  <c:v>1.2857809409275214</c:v>
                </c:pt>
                <c:pt idx="76">
                  <c:v>1.2863538629200908</c:v>
                </c:pt>
                <c:pt idx="77">
                  <c:v>1.2685892117522106</c:v>
                </c:pt>
                <c:pt idx="78">
                  <c:v>1.2782566878629058</c:v>
                </c:pt>
                <c:pt idx="79">
                  <c:v>1.2781145372729315</c:v>
                </c:pt>
                <c:pt idx="80">
                  <c:v>1.2756551226037136</c:v>
                </c:pt>
                <c:pt idx="81">
                  <c:v>1.2671888149769934</c:v>
                </c:pt>
                <c:pt idx="82">
                  <c:v>1.2757121007821872</c:v>
                </c:pt>
                <c:pt idx="83">
                  <c:v>1.2617001229658731</c:v>
                </c:pt>
                <c:pt idx="84">
                  <c:v>1.2473364063458341</c:v>
                </c:pt>
                <c:pt idx="85">
                  <c:v>1.2421551699647413</c:v>
                </c:pt>
                <c:pt idx="86">
                  <c:v>1.2404290309698478</c:v>
                </c:pt>
                <c:pt idx="87">
                  <c:v>1.2320147096135594</c:v>
                </c:pt>
                <c:pt idx="88">
                  <c:v>1.2456184157708585</c:v>
                </c:pt>
                <c:pt idx="89">
                  <c:v>1.2475991899136054</c:v>
                </c:pt>
                <c:pt idx="90">
                  <c:v>1.2484741022556201</c:v>
                </c:pt>
                <c:pt idx="91">
                  <c:v>1.2433138372325534</c:v>
                </c:pt>
                <c:pt idx="92">
                  <c:v>1.2226320335143674</c:v>
                </c:pt>
                <c:pt idx="93">
                  <c:v>1.2288569152061626</c:v>
                </c:pt>
                <c:pt idx="94">
                  <c:v>1.2153480936001162</c:v>
                </c:pt>
                <c:pt idx="95">
                  <c:v>1.2127284467871033</c:v>
                </c:pt>
                <c:pt idx="96">
                  <c:v>1.2198744144323732</c:v>
                </c:pt>
                <c:pt idx="97">
                  <c:v>1.2124075288228655</c:v>
                </c:pt>
                <c:pt idx="98">
                  <c:v>1.2138167576691354</c:v>
                </c:pt>
                <c:pt idx="99">
                  <c:v>1.2117986806071954</c:v>
                </c:pt>
                <c:pt idx="100">
                  <c:v>1.199975809140015</c:v>
                </c:pt>
                <c:pt idx="101">
                  <c:v>1.2117321136728332</c:v>
                </c:pt>
                <c:pt idx="102">
                  <c:v>1.2054686670676904</c:v>
                </c:pt>
                <c:pt idx="103">
                  <c:v>1.2090008459663324</c:v>
                </c:pt>
                <c:pt idx="104">
                  <c:v>1.2082069333522012</c:v>
                </c:pt>
                <c:pt idx="105">
                  <c:v>1.2033110557812432</c:v>
                </c:pt>
                <c:pt idx="106">
                  <c:v>1.1924384249333264</c:v>
                </c:pt>
                <c:pt idx="107">
                  <c:v>1.2550651067089198</c:v>
                </c:pt>
                <c:pt idx="108">
                  <c:v>1.2380181423549674</c:v>
                </c:pt>
                <c:pt idx="109">
                  <c:v>1.2448069461531182</c:v>
                </c:pt>
                <c:pt idx="110">
                  <c:v>1.2281345298022908</c:v>
                </c:pt>
                <c:pt idx="111">
                  <c:v>1.2214541403897587</c:v>
                </c:pt>
                <c:pt idx="112">
                  <c:v>1.2196694951037383</c:v>
                </c:pt>
                <c:pt idx="113">
                  <c:v>1.2188870103033194</c:v>
                </c:pt>
                <c:pt idx="114">
                  <c:v>1.2084872856840068</c:v>
                </c:pt>
                <c:pt idx="115">
                  <c:v>1.206072853663835</c:v>
                </c:pt>
                <c:pt idx="116">
                  <c:v>1.2093200018356622</c:v>
                </c:pt>
                <c:pt idx="117">
                  <c:v>1.2145609421449806</c:v>
                </c:pt>
                <c:pt idx="118">
                  <c:v>1.2118540833996616</c:v>
                </c:pt>
                <c:pt idx="119">
                  <c:v>1.2012931132096836</c:v>
                </c:pt>
                <c:pt idx="120">
                  <c:v>1.2037823670296894</c:v>
                </c:pt>
                <c:pt idx="121">
                  <c:v>1.2026816868273869</c:v>
                </c:pt>
                <c:pt idx="122">
                  <c:v>1.190303389998163</c:v>
                </c:pt>
                <c:pt idx="123">
                  <c:v>1.3320815226977534</c:v>
                </c:pt>
                <c:pt idx="124">
                  <c:v>1.1780057506971637</c:v>
                </c:pt>
                <c:pt idx="125">
                  <c:v>1.0996150026528086</c:v>
                </c:pt>
                <c:pt idx="126">
                  <c:v>1.0838515208927344</c:v>
                </c:pt>
                <c:pt idx="127">
                  <c:v>1.0896274989289829</c:v>
                </c:pt>
                <c:pt idx="128">
                  <c:v>1.0883582590632261</c:v>
                </c:pt>
                <c:pt idx="129">
                  <c:v>1.1066745969503498</c:v>
                </c:pt>
                <c:pt idx="130">
                  <c:v>1.1184299917259464</c:v>
                </c:pt>
                <c:pt idx="131">
                  <c:v>1.1220844551140181</c:v>
                </c:pt>
                <c:pt idx="132">
                  <c:v>1.0949568664435809</c:v>
                </c:pt>
                <c:pt idx="133">
                  <c:v>1.1395716146910415</c:v>
                </c:pt>
                <c:pt idx="134">
                  <c:v>1.0540706056165183</c:v>
                </c:pt>
                <c:pt idx="135">
                  <c:v>1.0676349250661532</c:v>
                </c:pt>
                <c:pt idx="136">
                  <c:v>1.091321554736189</c:v>
                </c:pt>
                <c:pt idx="137">
                  <c:v>1.0746603272163338</c:v>
                </c:pt>
                <c:pt idx="138">
                  <c:v>1.1085323952682611</c:v>
                </c:pt>
                <c:pt idx="139">
                  <c:v>1.0962135085004077</c:v>
                </c:pt>
                <c:pt idx="140">
                  <c:v>1.1048220538673126</c:v>
                </c:pt>
                <c:pt idx="141">
                  <c:v>1.0945073162869412</c:v>
                </c:pt>
                <c:pt idx="142">
                  <c:v>1.0982016711972957</c:v>
                </c:pt>
                <c:pt idx="143">
                  <c:v>1.1436541207379063</c:v>
                </c:pt>
                <c:pt idx="144">
                  <c:v>1.1616234216858783</c:v>
                </c:pt>
                <c:pt idx="145">
                  <c:v>1.1758416859419172</c:v>
                </c:pt>
                <c:pt idx="146">
                  <c:v>1.1784968934117743</c:v>
                </c:pt>
                <c:pt idx="147">
                  <c:v>1.1842016886320874</c:v>
                </c:pt>
                <c:pt idx="148">
                  <c:v>1.1911243742780131</c:v>
                </c:pt>
                <c:pt idx="149">
                  <c:v>1.2014684984423412</c:v>
                </c:pt>
                <c:pt idx="150">
                  <c:v>1.210051705428006</c:v>
                </c:pt>
                <c:pt idx="151">
                  <c:v>1.2175036345110144</c:v>
                </c:pt>
                <c:pt idx="152">
                  <c:v>1.2067849063046912</c:v>
                </c:pt>
                <c:pt idx="153">
                  <c:v>1.1839308347104465</c:v>
                </c:pt>
                <c:pt idx="154">
                  <c:v>1.1893703943448235</c:v>
                </c:pt>
                <c:pt idx="155">
                  <c:v>1.2092720625146776</c:v>
                </c:pt>
                <c:pt idx="156">
                  <c:v>1.1955267001281913</c:v>
                </c:pt>
                <c:pt idx="157">
                  <c:v>1.1958720053181968</c:v>
                </c:pt>
                <c:pt idx="158">
                  <c:v>1.2092897621492018</c:v>
                </c:pt>
                <c:pt idx="159">
                  <c:v>1.2032091528231361</c:v>
                </c:pt>
                <c:pt idx="160">
                  <c:v>1.1986928832374695</c:v>
                </c:pt>
                <c:pt idx="161">
                  <c:v>1.2007669348726271</c:v>
                </c:pt>
                <c:pt idx="162">
                  <c:v>1.19307484764920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949-46C6-8DEE-0EFBE6AFF1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884544296"/>
        <c:axId val="884535768"/>
      </c:lineChart>
      <c:catAx>
        <c:axId val="884544296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535768"/>
        <c:crosses val="autoZero"/>
        <c:auto val="1"/>
        <c:lblAlgn val="ctr"/>
        <c:lblOffset val="100"/>
        <c:tickLblSkip val="12"/>
        <c:noMultiLvlLbl val="0"/>
      </c:catAx>
      <c:valAx>
        <c:axId val="884535768"/>
        <c:scaling>
          <c:orientation val="minMax"/>
          <c:max val="1.7000000000000002"/>
          <c:min val="1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4544296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5.1282000076077444E-2"/>
          <c:y val="8.0194881889763772E-2"/>
          <c:w val="0.31940012933165962"/>
          <c:h val="8.298972003499562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Existing single-family sales, seasonally adjusted annual rate</a:t>
            </a:r>
          </a:p>
        </c:rich>
      </c:tx>
      <c:layout>
        <c:manualLayout>
          <c:xMode val="edge"/>
          <c:yMode val="edge"/>
          <c:x val="7.868547681539805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8340941078017409E-2"/>
          <c:y val="7.3124335294519394E-2"/>
          <c:w val="0.86975883449351443"/>
          <c:h val="0.7683700787401575"/>
        </c:manualLayout>
      </c:layout>
      <c:lineChart>
        <c:grouping val="standard"/>
        <c:varyColors val="0"/>
        <c:ser>
          <c:idx val="0"/>
          <c:order val="0"/>
          <c:tx>
            <c:strRef>
              <c:f>'Existing home sales'!$B$1</c:f>
              <c:strCache>
                <c:ptCount val="1"/>
                <c:pt idx="0">
                  <c:v> SAAR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Existing home sales'!$A$38:$A$190</c:f>
              <c:strCache>
                <c:ptCount val="152"/>
                <c:pt idx="0">
                  <c:v>2011</c:v>
                </c:pt>
                <c:pt idx="1">
                  <c:v>11-Feb</c:v>
                </c:pt>
                <c:pt idx="2">
                  <c:v>11-Mar</c:v>
                </c:pt>
                <c:pt idx="3">
                  <c:v>11-Apr</c:v>
                </c:pt>
                <c:pt idx="4">
                  <c:v>11-May</c:v>
                </c:pt>
                <c:pt idx="5">
                  <c:v>11-Jun</c:v>
                </c:pt>
                <c:pt idx="6">
                  <c:v>11-Jul</c:v>
                </c:pt>
                <c:pt idx="7">
                  <c:v>11-Aug</c:v>
                </c:pt>
                <c:pt idx="8">
                  <c:v>11-Sep</c:v>
                </c:pt>
                <c:pt idx="9">
                  <c:v>11-Oct</c:v>
                </c:pt>
                <c:pt idx="10">
                  <c:v>11-Nov</c:v>
                </c:pt>
                <c:pt idx="11">
                  <c:v>11-Dec</c:v>
                </c:pt>
                <c:pt idx="12">
                  <c:v>2012</c:v>
                </c:pt>
                <c:pt idx="13">
                  <c:v>12-Feb</c:v>
                </c:pt>
                <c:pt idx="14">
                  <c:v>12-Mar</c:v>
                </c:pt>
                <c:pt idx="15">
                  <c:v>12-Apr</c:v>
                </c:pt>
                <c:pt idx="16">
                  <c:v>12-May</c:v>
                </c:pt>
                <c:pt idx="17">
                  <c:v>12-Jun</c:v>
                </c:pt>
                <c:pt idx="18">
                  <c:v>12-Jul</c:v>
                </c:pt>
                <c:pt idx="19">
                  <c:v>12-Aug</c:v>
                </c:pt>
                <c:pt idx="20">
                  <c:v>12-Sep</c:v>
                </c:pt>
                <c:pt idx="21">
                  <c:v>12-Oct</c:v>
                </c:pt>
                <c:pt idx="22">
                  <c:v>12-Nov</c:v>
                </c:pt>
                <c:pt idx="23">
                  <c:v>12-Dec</c:v>
                </c:pt>
                <c:pt idx="24">
                  <c:v>2013</c:v>
                </c:pt>
                <c:pt idx="25">
                  <c:v>13-Feb</c:v>
                </c:pt>
                <c:pt idx="26">
                  <c:v>13-Mar</c:v>
                </c:pt>
                <c:pt idx="27">
                  <c:v>13-Apr</c:v>
                </c:pt>
                <c:pt idx="28">
                  <c:v>13-May</c:v>
                </c:pt>
                <c:pt idx="29">
                  <c:v>13-Jun</c:v>
                </c:pt>
                <c:pt idx="30">
                  <c:v>13-Jul</c:v>
                </c:pt>
                <c:pt idx="31">
                  <c:v>13-Aug</c:v>
                </c:pt>
                <c:pt idx="32">
                  <c:v>13-Sep</c:v>
                </c:pt>
                <c:pt idx="33">
                  <c:v>13-Oct</c:v>
                </c:pt>
                <c:pt idx="34">
                  <c:v>13-Nov</c:v>
                </c:pt>
                <c:pt idx="35">
                  <c:v>13-Dec</c:v>
                </c:pt>
                <c:pt idx="36">
                  <c:v>2014</c:v>
                </c:pt>
                <c:pt idx="37">
                  <c:v>14-Feb</c:v>
                </c:pt>
                <c:pt idx="38">
                  <c:v>14-Mar</c:v>
                </c:pt>
                <c:pt idx="39">
                  <c:v>14-Apr</c:v>
                </c:pt>
                <c:pt idx="40">
                  <c:v>14-May</c:v>
                </c:pt>
                <c:pt idx="41">
                  <c:v>14-Jun</c:v>
                </c:pt>
                <c:pt idx="42">
                  <c:v>14-Jul</c:v>
                </c:pt>
                <c:pt idx="43">
                  <c:v>14-Aug</c:v>
                </c:pt>
                <c:pt idx="44">
                  <c:v>14-Sep</c:v>
                </c:pt>
                <c:pt idx="45">
                  <c:v>14-Oct</c:v>
                </c:pt>
                <c:pt idx="46">
                  <c:v>14-Nov</c:v>
                </c:pt>
                <c:pt idx="47">
                  <c:v>14-Dec</c:v>
                </c:pt>
                <c:pt idx="48">
                  <c:v>2015</c:v>
                </c:pt>
                <c:pt idx="49">
                  <c:v>15-Feb</c:v>
                </c:pt>
                <c:pt idx="50">
                  <c:v>15-Mar</c:v>
                </c:pt>
                <c:pt idx="51">
                  <c:v>15-Apr</c:v>
                </c:pt>
                <c:pt idx="52">
                  <c:v>15-May</c:v>
                </c:pt>
                <c:pt idx="53">
                  <c:v>15-Jun</c:v>
                </c:pt>
                <c:pt idx="54">
                  <c:v>15-Jul</c:v>
                </c:pt>
                <c:pt idx="55">
                  <c:v>15-Aug</c:v>
                </c:pt>
                <c:pt idx="56">
                  <c:v>15-Sep</c:v>
                </c:pt>
                <c:pt idx="57">
                  <c:v>15-Oct</c:v>
                </c:pt>
                <c:pt idx="58">
                  <c:v>15-Nov</c:v>
                </c:pt>
                <c:pt idx="59">
                  <c:v>15-Dec</c:v>
                </c:pt>
                <c:pt idx="60">
                  <c:v>2016</c:v>
                </c:pt>
                <c:pt idx="61">
                  <c:v>16-Feb</c:v>
                </c:pt>
                <c:pt idx="62">
                  <c:v>16-Mar</c:v>
                </c:pt>
                <c:pt idx="63">
                  <c:v>16-Apr</c:v>
                </c:pt>
                <c:pt idx="64">
                  <c:v>16-May</c:v>
                </c:pt>
                <c:pt idx="65">
                  <c:v>16-Jun</c:v>
                </c:pt>
                <c:pt idx="66">
                  <c:v>16-Jul</c:v>
                </c:pt>
                <c:pt idx="67">
                  <c:v>16-Aug</c:v>
                </c:pt>
                <c:pt idx="68">
                  <c:v>16-Sep</c:v>
                </c:pt>
                <c:pt idx="69">
                  <c:v>16-Oct</c:v>
                </c:pt>
                <c:pt idx="70">
                  <c:v>16-Nov</c:v>
                </c:pt>
                <c:pt idx="71">
                  <c:v>16-Dec</c:v>
                </c:pt>
                <c:pt idx="72">
                  <c:v>2017</c:v>
                </c:pt>
                <c:pt idx="73">
                  <c:v>17-Feb</c:v>
                </c:pt>
                <c:pt idx="74">
                  <c:v>17-Mar</c:v>
                </c:pt>
                <c:pt idx="75">
                  <c:v>17-Apr</c:v>
                </c:pt>
                <c:pt idx="76">
                  <c:v>17-May</c:v>
                </c:pt>
                <c:pt idx="77">
                  <c:v>17-Jun</c:v>
                </c:pt>
                <c:pt idx="78">
                  <c:v>17-Jul</c:v>
                </c:pt>
                <c:pt idx="79">
                  <c:v>17-Aug</c:v>
                </c:pt>
                <c:pt idx="80">
                  <c:v>17-Sep</c:v>
                </c:pt>
                <c:pt idx="81">
                  <c:v>17-Oct</c:v>
                </c:pt>
                <c:pt idx="82">
                  <c:v>17-Nov</c:v>
                </c:pt>
                <c:pt idx="83">
                  <c:v>17-Dec</c:v>
                </c:pt>
                <c:pt idx="84">
                  <c:v>2018</c:v>
                </c:pt>
                <c:pt idx="85">
                  <c:v>18-Feb</c:v>
                </c:pt>
                <c:pt idx="86">
                  <c:v>18-Mar</c:v>
                </c:pt>
                <c:pt idx="87">
                  <c:v>18-Apr</c:v>
                </c:pt>
                <c:pt idx="88">
                  <c:v>18-May</c:v>
                </c:pt>
                <c:pt idx="89">
                  <c:v>18-Jun</c:v>
                </c:pt>
                <c:pt idx="90">
                  <c:v>18-Jul</c:v>
                </c:pt>
                <c:pt idx="91">
                  <c:v>18-Aug</c:v>
                </c:pt>
                <c:pt idx="92">
                  <c:v>18-Sep</c:v>
                </c:pt>
                <c:pt idx="93">
                  <c:v>18-Oct</c:v>
                </c:pt>
                <c:pt idx="94">
                  <c:v>18-Nov</c:v>
                </c:pt>
                <c:pt idx="95">
                  <c:v>18-Dec</c:v>
                </c:pt>
                <c:pt idx="96">
                  <c:v>2019</c:v>
                </c:pt>
                <c:pt idx="97">
                  <c:v>19-Feb</c:v>
                </c:pt>
                <c:pt idx="98">
                  <c:v>19-Mar</c:v>
                </c:pt>
                <c:pt idx="99">
                  <c:v>19-Apr</c:v>
                </c:pt>
                <c:pt idx="100">
                  <c:v>19-May</c:v>
                </c:pt>
                <c:pt idx="101">
                  <c:v>19-Jun</c:v>
                </c:pt>
                <c:pt idx="102">
                  <c:v>19-Jul</c:v>
                </c:pt>
                <c:pt idx="103">
                  <c:v>19-Aug</c:v>
                </c:pt>
                <c:pt idx="104">
                  <c:v>19-Sep</c:v>
                </c:pt>
                <c:pt idx="105">
                  <c:v>19-Oct</c:v>
                </c:pt>
                <c:pt idx="106">
                  <c:v>19-Nov</c:v>
                </c:pt>
                <c:pt idx="107">
                  <c:v>19-Dec</c:v>
                </c:pt>
                <c:pt idx="108">
                  <c:v>2020</c:v>
                </c:pt>
                <c:pt idx="109">
                  <c:v>20-Feb</c:v>
                </c:pt>
                <c:pt idx="110">
                  <c:v>20-Mar</c:v>
                </c:pt>
                <c:pt idx="111">
                  <c:v>20-Apr</c:v>
                </c:pt>
                <c:pt idx="112">
                  <c:v>20-May</c:v>
                </c:pt>
                <c:pt idx="113">
                  <c:v>20-Jun</c:v>
                </c:pt>
                <c:pt idx="114">
                  <c:v>20-Jul</c:v>
                </c:pt>
                <c:pt idx="115">
                  <c:v>20-Aug</c:v>
                </c:pt>
                <c:pt idx="116">
                  <c:v>20-Sep</c:v>
                </c:pt>
                <c:pt idx="117">
                  <c:v>20-Oct</c:v>
                </c:pt>
                <c:pt idx="118">
                  <c:v>20-Nov</c:v>
                </c:pt>
                <c:pt idx="119">
                  <c:v>20-Dec</c:v>
                </c:pt>
                <c:pt idx="120">
                  <c:v>2021</c:v>
                </c:pt>
                <c:pt idx="121">
                  <c:v>21-Feb</c:v>
                </c:pt>
                <c:pt idx="122">
                  <c:v>21-Mar</c:v>
                </c:pt>
                <c:pt idx="123">
                  <c:v>21-Apr</c:v>
                </c:pt>
                <c:pt idx="124">
                  <c:v>21-May</c:v>
                </c:pt>
                <c:pt idx="125">
                  <c:v>21-Jun</c:v>
                </c:pt>
                <c:pt idx="126">
                  <c:v>21-Jul</c:v>
                </c:pt>
                <c:pt idx="127">
                  <c:v>21-Aug</c:v>
                </c:pt>
                <c:pt idx="128">
                  <c:v>21-Sep</c:v>
                </c:pt>
                <c:pt idx="129">
                  <c:v>21-Oct</c:v>
                </c:pt>
                <c:pt idx="130">
                  <c:v>21-Nov</c:v>
                </c:pt>
                <c:pt idx="131">
                  <c:v>21-Dec</c:v>
                </c:pt>
                <c:pt idx="132">
                  <c:v>2022</c:v>
                </c:pt>
                <c:pt idx="133">
                  <c:v>22-Feb</c:v>
                </c:pt>
                <c:pt idx="134">
                  <c:v>22-Mar</c:v>
                </c:pt>
                <c:pt idx="135">
                  <c:v>22-Apr</c:v>
                </c:pt>
                <c:pt idx="136">
                  <c:v>22-May</c:v>
                </c:pt>
                <c:pt idx="137">
                  <c:v>22-Jun</c:v>
                </c:pt>
                <c:pt idx="138">
                  <c:v>22-Jul</c:v>
                </c:pt>
                <c:pt idx="139">
                  <c:v>22-Aug</c:v>
                </c:pt>
                <c:pt idx="140">
                  <c:v>22-Sep</c:v>
                </c:pt>
                <c:pt idx="141">
                  <c:v>22-Oct</c:v>
                </c:pt>
                <c:pt idx="142">
                  <c:v>22-Nov</c:v>
                </c:pt>
                <c:pt idx="143">
                  <c:v>22-Dec</c:v>
                </c:pt>
                <c:pt idx="144">
                  <c:v>2023</c:v>
                </c:pt>
                <c:pt idx="145">
                  <c:v>23-Feb</c:v>
                </c:pt>
                <c:pt idx="146">
                  <c:v>23-Mar</c:v>
                </c:pt>
                <c:pt idx="147">
                  <c:v>23-Apr</c:v>
                </c:pt>
                <c:pt idx="148">
                  <c:v>23-May</c:v>
                </c:pt>
                <c:pt idx="149">
                  <c:v>23-Jun</c:v>
                </c:pt>
                <c:pt idx="150">
                  <c:v>23-Jul</c:v>
                </c:pt>
                <c:pt idx="151">
                  <c:v>23-Aug</c:v>
                </c:pt>
              </c:strCache>
            </c:strRef>
          </c:cat>
          <c:val>
            <c:numRef>
              <c:f>'Existing home sales'!$B$38:$B$190</c:f>
              <c:numCache>
                <c:formatCode>#,##0</c:formatCode>
                <c:ptCount val="153"/>
                <c:pt idx="0">
                  <c:v>3870000</c:v>
                </c:pt>
                <c:pt idx="1">
                  <c:v>3670000</c:v>
                </c:pt>
                <c:pt idx="2">
                  <c:v>3750000</c:v>
                </c:pt>
                <c:pt idx="3">
                  <c:v>3690000</c:v>
                </c:pt>
                <c:pt idx="4">
                  <c:v>3660000</c:v>
                </c:pt>
                <c:pt idx="5">
                  <c:v>3760000</c:v>
                </c:pt>
                <c:pt idx="6">
                  <c:v>3710000</c:v>
                </c:pt>
                <c:pt idx="7">
                  <c:v>3880000</c:v>
                </c:pt>
                <c:pt idx="8">
                  <c:v>3840000</c:v>
                </c:pt>
                <c:pt idx="9">
                  <c:v>3870000</c:v>
                </c:pt>
                <c:pt idx="10">
                  <c:v>3930000</c:v>
                </c:pt>
                <c:pt idx="11">
                  <c:v>3870000</c:v>
                </c:pt>
                <c:pt idx="12">
                  <c:v>3970000</c:v>
                </c:pt>
                <c:pt idx="13">
                  <c:v>4070000</c:v>
                </c:pt>
                <c:pt idx="14">
                  <c:v>4020000</c:v>
                </c:pt>
                <c:pt idx="15">
                  <c:v>4080000</c:v>
                </c:pt>
                <c:pt idx="16">
                  <c:v>4090000</c:v>
                </c:pt>
                <c:pt idx="17">
                  <c:v>3980000</c:v>
                </c:pt>
                <c:pt idx="18">
                  <c:v>4020000</c:v>
                </c:pt>
                <c:pt idx="19">
                  <c:v>4210000</c:v>
                </c:pt>
                <c:pt idx="20">
                  <c:v>4150000</c:v>
                </c:pt>
                <c:pt idx="21">
                  <c:v>4230000</c:v>
                </c:pt>
                <c:pt idx="22">
                  <c:v>4360000</c:v>
                </c:pt>
                <c:pt idx="23">
                  <c:v>4320000</c:v>
                </c:pt>
                <c:pt idx="24">
                  <c:v>4370000</c:v>
                </c:pt>
                <c:pt idx="25">
                  <c:v>4410000</c:v>
                </c:pt>
                <c:pt idx="26">
                  <c:v>4440000</c:v>
                </c:pt>
                <c:pt idx="27">
                  <c:v>4470000</c:v>
                </c:pt>
                <c:pt idx="28">
                  <c:v>4560000</c:v>
                </c:pt>
                <c:pt idx="29">
                  <c:v>4540000</c:v>
                </c:pt>
                <c:pt idx="30">
                  <c:v>4680000</c:v>
                </c:pt>
                <c:pt idx="31">
                  <c:v>4630000</c:v>
                </c:pt>
                <c:pt idx="32">
                  <c:v>4580000</c:v>
                </c:pt>
                <c:pt idx="33">
                  <c:v>4440000</c:v>
                </c:pt>
                <c:pt idx="34">
                  <c:v>4260000</c:v>
                </c:pt>
                <c:pt idx="35">
                  <c:v>4290000</c:v>
                </c:pt>
                <c:pt idx="36">
                  <c:v>4110000</c:v>
                </c:pt>
                <c:pt idx="37">
                  <c:v>4100000</c:v>
                </c:pt>
                <c:pt idx="38">
                  <c:v>4140000</c:v>
                </c:pt>
                <c:pt idx="39">
                  <c:v>4160000</c:v>
                </c:pt>
                <c:pt idx="40">
                  <c:v>4310000</c:v>
                </c:pt>
                <c:pt idx="41">
                  <c:v>4410000</c:v>
                </c:pt>
                <c:pt idx="42">
                  <c:v>4470000</c:v>
                </c:pt>
                <c:pt idx="43">
                  <c:v>4420000</c:v>
                </c:pt>
                <c:pt idx="44">
                  <c:v>4500000</c:v>
                </c:pt>
                <c:pt idx="45">
                  <c:v>4540000</c:v>
                </c:pt>
                <c:pt idx="46">
                  <c:v>4350000</c:v>
                </c:pt>
                <c:pt idx="47">
                  <c:v>4500000</c:v>
                </c:pt>
                <c:pt idx="48">
                  <c:v>4370000</c:v>
                </c:pt>
                <c:pt idx="49">
                  <c:v>4420000</c:v>
                </c:pt>
                <c:pt idx="50">
                  <c:v>4640000</c:v>
                </c:pt>
                <c:pt idx="51">
                  <c:v>4530000</c:v>
                </c:pt>
                <c:pt idx="52">
                  <c:v>4680000</c:v>
                </c:pt>
                <c:pt idx="53">
                  <c:v>4770000</c:v>
                </c:pt>
                <c:pt idx="54">
                  <c:v>4860000</c:v>
                </c:pt>
                <c:pt idx="55">
                  <c:v>4670000</c:v>
                </c:pt>
                <c:pt idx="56">
                  <c:v>4830000</c:v>
                </c:pt>
                <c:pt idx="57">
                  <c:v>4680000</c:v>
                </c:pt>
                <c:pt idx="58">
                  <c:v>4260000</c:v>
                </c:pt>
                <c:pt idx="59">
                  <c:v>4810000</c:v>
                </c:pt>
                <c:pt idx="60">
                  <c:v>4860000</c:v>
                </c:pt>
                <c:pt idx="61">
                  <c:v>4620000</c:v>
                </c:pt>
                <c:pt idx="62">
                  <c:v>4790000</c:v>
                </c:pt>
                <c:pt idx="63">
                  <c:v>4870000</c:v>
                </c:pt>
                <c:pt idx="64">
                  <c:v>4850000</c:v>
                </c:pt>
                <c:pt idx="65">
                  <c:v>4850000</c:v>
                </c:pt>
                <c:pt idx="66">
                  <c:v>4760000</c:v>
                </c:pt>
                <c:pt idx="67">
                  <c:v>4720000</c:v>
                </c:pt>
                <c:pt idx="68">
                  <c:v>4850000</c:v>
                </c:pt>
                <c:pt idx="69">
                  <c:v>4920000</c:v>
                </c:pt>
                <c:pt idx="70">
                  <c:v>4930000</c:v>
                </c:pt>
                <c:pt idx="71">
                  <c:v>4910000</c:v>
                </c:pt>
                <c:pt idx="72">
                  <c:v>5040000</c:v>
                </c:pt>
                <c:pt idx="73">
                  <c:v>4870000</c:v>
                </c:pt>
                <c:pt idx="74">
                  <c:v>5070000</c:v>
                </c:pt>
                <c:pt idx="75">
                  <c:v>4930000</c:v>
                </c:pt>
                <c:pt idx="76">
                  <c:v>4980000</c:v>
                </c:pt>
                <c:pt idx="77">
                  <c:v>4880000</c:v>
                </c:pt>
                <c:pt idx="78">
                  <c:v>4840000</c:v>
                </c:pt>
                <c:pt idx="79">
                  <c:v>4740000</c:v>
                </c:pt>
                <c:pt idx="80">
                  <c:v>4770000</c:v>
                </c:pt>
                <c:pt idx="81">
                  <c:v>4880000</c:v>
                </c:pt>
                <c:pt idx="82">
                  <c:v>5050000</c:v>
                </c:pt>
                <c:pt idx="83">
                  <c:v>4950000</c:v>
                </c:pt>
                <c:pt idx="84">
                  <c:v>4760000</c:v>
                </c:pt>
                <c:pt idx="85">
                  <c:v>4960000</c:v>
                </c:pt>
                <c:pt idx="86">
                  <c:v>4990000</c:v>
                </c:pt>
                <c:pt idx="87">
                  <c:v>4840000</c:v>
                </c:pt>
                <c:pt idx="88">
                  <c:v>4790000</c:v>
                </c:pt>
                <c:pt idx="89">
                  <c:v>4760000</c:v>
                </c:pt>
                <c:pt idx="90">
                  <c:v>4790000</c:v>
                </c:pt>
                <c:pt idx="91">
                  <c:v>4760000</c:v>
                </c:pt>
                <c:pt idx="92">
                  <c:v>4580000</c:v>
                </c:pt>
                <c:pt idx="93">
                  <c:v>4620000</c:v>
                </c:pt>
                <c:pt idx="94">
                  <c:v>4630000</c:v>
                </c:pt>
                <c:pt idx="95">
                  <c:v>4450000</c:v>
                </c:pt>
                <c:pt idx="96">
                  <c:v>4420000</c:v>
                </c:pt>
                <c:pt idx="97">
                  <c:v>4820000</c:v>
                </c:pt>
                <c:pt idx="98">
                  <c:v>4680000</c:v>
                </c:pt>
                <c:pt idx="99">
                  <c:v>4660000</c:v>
                </c:pt>
                <c:pt idx="100">
                  <c:v>4750000</c:v>
                </c:pt>
                <c:pt idx="101">
                  <c:v>4750000</c:v>
                </c:pt>
                <c:pt idx="102">
                  <c:v>4810000</c:v>
                </c:pt>
                <c:pt idx="103">
                  <c:v>4840000</c:v>
                </c:pt>
                <c:pt idx="104">
                  <c:v>4820000</c:v>
                </c:pt>
                <c:pt idx="105">
                  <c:v>4830000</c:v>
                </c:pt>
                <c:pt idx="106">
                  <c:v>4760000</c:v>
                </c:pt>
                <c:pt idx="107">
                  <c:v>4910000</c:v>
                </c:pt>
                <c:pt idx="108">
                  <c:v>4820000</c:v>
                </c:pt>
                <c:pt idx="109">
                  <c:v>5110000</c:v>
                </c:pt>
                <c:pt idx="110">
                  <c:v>4800000</c:v>
                </c:pt>
                <c:pt idx="111">
                  <c:v>3980000</c:v>
                </c:pt>
                <c:pt idx="112">
                  <c:v>3650000</c:v>
                </c:pt>
                <c:pt idx="113">
                  <c:v>4310000</c:v>
                </c:pt>
                <c:pt idx="114">
                  <c:v>5320000</c:v>
                </c:pt>
                <c:pt idx="115">
                  <c:v>5340000</c:v>
                </c:pt>
                <c:pt idx="116">
                  <c:v>5770000</c:v>
                </c:pt>
                <c:pt idx="117">
                  <c:v>6010000</c:v>
                </c:pt>
                <c:pt idx="118">
                  <c:v>5880000</c:v>
                </c:pt>
                <c:pt idx="119">
                  <c:v>5920000</c:v>
                </c:pt>
                <c:pt idx="120">
                  <c:v>5900000</c:v>
                </c:pt>
                <c:pt idx="121">
                  <c:v>5470000</c:v>
                </c:pt>
                <c:pt idx="122">
                  <c:v>5330000</c:v>
                </c:pt>
                <c:pt idx="123">
                  <c:v>5240000</c:v>
                </c:pt>
                <c:pt idx="124">
                  <c:v>5200000</c:v>
                </c:pt>
                <c:pt idx="125">
                  <c:v>5240000</c:v>
                </c:pt>
                <c:pt idx="126">
                  <c:v>5320000</c:v>
                </c:pt>
                <c:pt idx="127">
                  <c:v>5300000</c:v>
                </c:pt>
                <c:pt idx="128">
                  <c:v>5480000</c:v>
                </c:pt>
                <c:pt idx="129">
                  <c:v>5500000</c:v>
                </c:pt>
                <c:pt idx="130">
                  <c:v>5630000</c:v>
                </c:pt>
                <c:pt idx="131">
                  <c:v>5410000</c:v>
                </c:pt>
                <c:pt idx="132">
                  <c:v>5620000</c:v>
                </c:pt>
                <c:pt idx="133">
                  <c:v>5270000</c:v>
                </c:pt>
                <c:pt idx="134">
                  <c:v>5060000</c:v>
                </c:pt>
                <c:pt idx="135">
                  <c:v>4960000</c:v>
                </c:pt>
                <c:pt idx="136">
                  <c:v>4810000</c:v>
                </c:pt>
                <c:pt idx="137">
                  <c:v>4580000</c:v>
                </c:pt>
                <c:pt idx="138">
                  <c:v>4360000</c:v>
                </c:pt>
                <c:pt idx="139">
                  <c:v>4250000</c:v>
                </c:pt>
                <c:pt idx="140">
                  <c:v>4190000</c:v>
                </c:pt>
                <c:pt idx="141">
                  <c:v>3960000</c:v>
                </c:pt>
                <c:pt idx="142">
                  <c:v>3680000</c:v>
                </c:pt>
                <c:pt idx="143">
                  <c:v>3620000</c:v>
                </c:pt>
                <c:pt idx="144">
                  <c:v>3590000</c:v>
                </c:pt>
                <c:pt idx="145">
                  <c:v>4100000</c:v>
                </c:pt>
                <c:pt idx="146">
                  <c:v>3990000</c:v>
                </c:pt>
                <c:pt idx="147">
                  <c:v>3860000</c:v>
                </c:pt>
                <c:pt idx="148">
                  <c:v>3850000</c:v>
                </c:pt>
                <c:pt idx="149">
                  <c:v>3720000</c:v>
                </c:pt>
                <c:pt idx="150">
                  <c:v>3650000</c:v>
                </c:pt>
                <c:pt idx="151">
                  <c:v>360000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2FE-42D7-87EB-53C080298F29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in val="2500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Millions</a:t>
                </a:r>
              </a:p>
            </c:rich>
          </c:tx>
          <c:layout>
            <c:manualLayout>
              <c:xMode val="edge"/>
              <c:yMode val="edge"/>
              <c:x val="0"/>
              <c:y val="0.428485892388451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majorUnit val="500000"/>
        <c:dispUnits>
          <c:builtInUnit val="millions"/>
        </c:dispUnits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i="0" baseline="0">
                <a:solidFill>
                  <a:schemeClr val="tx1"/>
                </a:solidFill>
                <a:effectLst/>
              </a:rPr>
              <a:t>Supply of existing homes for sale at current sales rate</a:t>
            </a:r>
            <a:endParaRPr lang="en-US" sz="1400">
              <a:solidFill>
                <a:schemeClr val="tx1"/>
              </a:solidFill>
              <a:effectLst/>
            </a:endParaRPr>
          </a:p>
        </c:rich>
      </c:tx>
      <c:layout>
        <c:manualLayout>
          <c:xMode val="edge"/>
          <c:yMode val="edge"/>
          <c:x val="8.2308665221195176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964129483814527E-2"/>
          <c:y val="7.0646020548546656E-2"/>
          <c:w val="0.89270569439689607"/>
          <c:h val="0.75971183335194037"/>
        </c:manualLayout>
      </c:layout>
      <c:lineChart>
        <c:grouping val="standard"/>
        <c:varyColors val="0"/>
        <c:ser>
          <c:idx val="0"/>
          <c:order val="0"/>
          <c:tx>
            <c:strRef>
              <c:f>'Existing home supply'!$B$1</c:f>
              <c:strCache>
                <c:ptCount val="1"/>
                <c:pt idx="0">
                  <c:v> SAAR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Existing home supply'!$A$86:$A$189</c:f>
              <c:strCache>
                <c:ptCount val="104"/>
                <c:pt idx="0">
                  <c:v>2015</c:v>
                </c:pt>
                <c:pt idx="1">
                  <c:v>15-Feb</c:v>
                </c:pt>
                <c:pt idx="2">
                  <c:v>15-Mar</c:v>
                </c:pt>
                <c:pt idx="3">
                  <c:v>15-Apr</c:v>
                </c:pt>
                <c:pt idx="4">
                  <c:v>15-May</c:v>
                </c:pt>
                <c:pt idx="5">
                  <c:v>15-Jun</c:v>
                </c:pt>
                <c:pt idx="6">
                  <c:v>15-Jul</c:v>
                </c:pt>
                <c:pt idx="7">
                  <c:v>15-Aug</c:v>
                </c:pt>
                <c:pt idx="8">
                  <c:v>15-Sep</c:v>
                </c:pt>
                <c:pt idx="9">
                  <c:v>15-Oct</c:v>
                </c:pt>
                <c:pt idx="10">
                  <c:v>15-Nov</c:v>
                </c:pt>
                <c:pt idx="11">
                  <c:v>15-Dec</c:v>
                </c:pt>
                <c:pt idx="12">
                  <c:v>2016</c:v>
                </c:pt>
                <c:pt idx="13">
                  <c:v>16-Feb</c:v>
                </c:pt>
                <c:pt idx="14">
                  <c:v>16-Mar</c:v>
                </c:pt>
                <c:pt idx="15">
                  <c:v>16-Apr</c:v>
                </c:pt>
                <c:pt idx="16">
                  <c:v>16-May</c:v>
                </c:pt>
                <c:pt idx="17">
                  <c:v>16-Jun</c:v>
                </c:pt>
                <c:pt idx="18">
                  <c:v>16-Jul</c:v>
                </c:pt>
                <c:pt idx="19">
                  <c:v>16-Aug</c:v>
                </c:pt>
                <c:pt idx="20">
                  <c:v>16-Sep</c:v>
                </c:pt>
                <c:pt idx="21">
                  <c:v>16-Oct</c:v>
                </c:pt>
                <c:pt idx="22">
                  <c:v>16-Nov</c:v>
                </c:pt>
                <c:pt idx="23">
                  <c:v>16-Dec</c:v>
                </c:pt>
                <c:pt idx="24">
                  <c:v>2017</c:v>
                </c:pt>
                <c:pt idx="25">
                  <c:v>17-Feb</c:v>
                </c:pt>
                <c:pt idx="26">
                  <c:v>17-Mar</c:v>
                </c:pt>
                <c:pt idx="27">
                  <c:v>17-Apr</c:v>
                </c:pt>
                <c:pt idx="28">
                  <c:v>17-May</c:v>
                </c:pt>
                <c:pt idx="29">
                  <c:v>17-Jun</c:v>
                </c:pt>
                <c:pt idx="30">
                  <c:v>17-Jul</c:v>
                </c:pt>
                <c:pt idx="31">
                  <c:v>17-Aug</c:v>
                </c:pt>
                <c:pt idx="32">
                  <c:v>17-Sep</c:v>
                </c:pt>
                <c:pt idx="33">
                  <c:v>17-Oct</c:v>
                </c:pt>
                <c:pt idx="34">
                  <c:v>17-Nov</c:v>
                </c:pt>
                <c:pt idx="35">
                  <c:v>17-Dec</c:v>
                </c:pt>
                <c:pt idx="36">
                  <c:v>2018</c:v>
                </c:pt>
                <c:pt idx="37">
                  <c:v>18-Feb</c:v>
                </c:pt>
                <c:pt idx="38">
                  <c:v>18-Mar</c:v>
                </c:pt>
                <c:pt idx="39">
                  <c:v>18-Apr</c:v>
                </c:pt>
                <c:pt idx="40">
                  <c:v>18-May</c:v>
                </c:pt>
                <c:pt idx="41">
                  <c:v>18-Jun</c:v>
                </c:pt>
                <c:pt idx="42">
                  <c:v>18-Jul</c:v>
                </c:pt>
                <c:pt idx="43">
                  <c:v>18-Aug</c:v>
                </c:pt>
                <c:pt idx="44">
                  <c:v>18-Sep</c:v>
                </c:pt>
                <c:pt idx="45">
                  <c:v>18-Oct</c:v>
                </c:pt>
                <c:pt idx="46">
                  <c:v>18-Nov</c:v>
                </c:pt>
                <c:pt idx="47">
                  <c:v>18-Dec</c:v>
                </c:pt>
                <c:pt idx="48">
                  <c:v>2019</c:v>
                </c:pt>
                <c:pt idx="49">
                  <c:v>19-Feb</c:v>
                </c:pt>
                <c:pt idx="50">
                  <c:v>19-Mar</c:v>
                </c:pt>
                <c:pt idx="51">
                  <c:v>19-Apr</c:v>
                </c:pt>
                <c:pt idx="52">
                  <c:v>19-May</c:v>
                </c:pt>
                <c:pt idx="53">
                  <c:v>19-Jun</c:v>
                </c:pt>
                <c:pt idx="54">
                  <c:v>19-Jul</c:v>
                </c:pt>
                <c:pt idx="55">
                  <c:v>19-Aug</c:v>
                </c:pt>
                <c:pt idx="56">
                  <c:v>19-Sep</c:v>
                </c:pt>
                <c:pt idx="57">
                  <c:v>19-Oct</c:v>
                </c:pt>
                <c:pt idx="58">
                  <c:v>19-Nov</c:v>
                </c:pt>
                <c:pt idx="59">
                  <c:v>19-Dec</c:v>
                </c:pt>
                <c:pt idx="60">
                  <c:v>2020</c:v>
                </c:pt>
                <c:pt idx="61">
                  <c:v>20-Feb</c:v>
                </c:pt>
                <c:pt idx="62">
                  <c:v>20-Mar</c:v>
                </c:pt>
                <c:pt idx="63">
                  <c:v>20-Apr</c:v>
                </c:pt>
                <c:pt idx="64">
                  <c:v>20-May</c:v>
                </c:pt>
                <c:pt idx="65">
                  <c:v>20-Jun</c:v>
                </c:pt>
                <c:pt idx="66">
                  <c:v>20-Jul</c:v>
                </c:pt>
                <c:pt idx="67">
                  <c:v>20-Aug</c:v>
                </c:pt>
                <c:pt idx="68">
                  <c:v>20-Sep</c:v>
                </c:pt>
                <c:pt idx="69">
                  <c:v>20-Oct</c:v>
                </c:pt>
                <c:pt idx="70">
                  <c:v>20-Nov</c:v>
                </c:pt>
                <c:pt idx="71">
                  <c:v>20-Dec</c:v>
                </c:pt>
                <c:pt idx="72">
                  <c:v>2021</c:v>
                </c:pt>
                <c:pt idx="73">
                  <c:v>21-Feb</c:v>
                </c:pt>
                <c:pt idx="74">
                  <c:v>21-Mar</c:v>
                </c:pt>
                <c:pt idx="75">
                  <c:v>21-Apr</c:v>
                </c:pt>
                <c:pt idx="76">
                  <c:v>21-May</c:v>
                </c:pt>
                <c:pt idx="77">
                  <c:v>21-Jun</c:v>
                </c:pt>
                <c:pt idx="78">
                  <c:v>21-Jul</c:v>
                </c:pt>
                <c:pt idx="79">
                  <c:v>21-Aug</c:v>
                </c:pt>
                <c:pt idx="80">
                  <c:v>21-Sep</c:v>
                </c:pt>
                <c:pt idx="81">
                  <c:v>21-Oct</c:v>
                </c:pt>
                <c:pt idx="82">
                  <c:v>21-Nov</c:v>
                </c:pt>
                <c:pt idx="83">
                  <c:v>21-Dec</c:v>
                </c:pt>
                <c:pt idx="84">
                  <c:v>2022</c:v>
                </c:pt>
                <c:pt idx="85">
                  <c:v>22-Feb</c:v>
                </c:pt>
                <c:pt idx="86">
                  <c:v>22-Mar</c:v>
                </c:pt>
                <c:pt idx="87">
                  <c:v>22-Apr</c:v>
                </c:pt>
                <c:pt idx="88">
                  <c:v>22-May</c:v>
                </c:pt>
                <c:pt idx="89">
                  <c:v>22-Jun</c:v>
                </c:pt>
                <c:pt idx="90">
                  <c:v>22-Jul</c:v>
                </c:pt>
                <c:pt idx="91">
                  <c:v>22-Aug</c:v>
                </c:pt>
                <c:pt idx="92">
                  <c:v>22-Sep</c:v>
                </c:pt>
                <c:pt idx="93">
                  <c:v>22-Oct</c:v>
                </c:pt>
                <c:pt idx="94">
                  <c:v>22-Nov</c:v>
                </c:pt>
                <c:pt idx="95">
                  <c:v>22-Dec</c:v>
                </c:pt>
                <c:pt idx="96">
                  <c:v>2023</c:v>
                </c:pt>
                <c:pt idx="97">
                  <c:v>23-Feb</c:v>
                </c:pt>
                <c:pt idx="98">
                  <c:v>23-Mar</c:v>
                </c:pt>
                <c:pt idx="99">
                  <c:v>23-Apr</c:v>
                </c:pt>
                <c:pt idx="100">
                  <c:v>23-May</c:v>
                </c:pt>
                <c:pt idx="101">
                  <c:v>23-Jun</c:v>
                </c:pt>
                <c:pt idx="102">
                  <c:v>23-Jul</c:v>
                </c:pt>
                <c:pt idx="103">
                  <c:v>23-Aug</c:v>
                </c:pt>
              </c:strCache>
            </c:strRef>
          </c:cat>
          <c:val>
            <c:numRef>
              <c:f>'Existing home supply'!$B$86:$B$189</c:f>
              <c:numCache>
                <c:formatCode>#,##0.0</c:formatCode>
                <c:ptCount val="104"/>
                <c:pt idx="0">
                  <c:v>4.5999999999999996</c:v>
                </c:pt>
                <c:pt idx="1">
                  <c:v>4.5</c:v>
                </c:pt>
                <c:pt idx="2">
                  <c:v>4.5</c:v>
                </c:pt>
                <c:pt idx="3">
                  <c:v>5.2</c:v>
                </c:pt>
                <c:pt idx="4">
                  <c:v>5.2</c:v>
                </c:pt>
                <c:pt idx="5">
                  <c:v>5</c:v>
                </c:pt>
                <c:pt idx="6">
                  <c:v>4.9000000000000004</c:v>
                </c:pt>
                <c:pt idx="7">
                  <c:v>5.2</c:v>
                </c:pt>
                <c:pt idx="8">
                  <c:v>4.8</c:v>
                </c:pt>
                <c:pt idx="9">
                  <c:v>4.8</c:v>
                </c:pt>
                <c:pt idx="10">
                  <c:v>5.0999999999999996</c:v>
                </c:pt>
                <c:pt idx="11">
                  <c:v>3.9</c:v>
                </c:pt>
                <c:pt idx="12">
                  <c:v>4</c:v>
                </c:pt>
                <c:pt idx="13">
                  <c:v>4.3</c:v>
                </c:pt>
                <c:pt idx="14">
                  <c:v>4.3</c:v>
                </c:pt>
                <c:pt idx="15">
                  <c:v>4.5999999999999996</c:v>
                </c:pt>
                <c:pt idx="16">
                  <c:v>4.7</c:v>
                </c:pt>
                <c:pt idx="17">
                  <c:v>4.7</c:v>
                </c:pt>
                <c:pt idx="18">
                  <c:v>4.7</c:v>
                </c:pt>
                <c:pt idx="19">
                  <c:v>4.5</c:v>
                </c:pt>
                <c:pt idx="20">
                  <c:v>4.4000000000000004</c:v>
                </c:pt>
                <c:pt idx="21">
                  <c:v>4.3</c:v>
                </c:pt>
                <c:pt idx="22">
                  <c:v>4</c:v>
                </c:pt>
                <c:pt idx="23">
                  <c:v>3.5</c:v>
                </c:pt>
                <c:pt idx="24">
                  <c:v>3.6</c:v>
                </c:pt>
                <c:pt idx="25">
                  <c:v>3.7</c:v>
                </c:pt>
                <c:pt idx="26">
                  <c:v>3.8</c:v>
                </c:pt>
                <c:pt idx="27">
                  <c:v>4.0999999999999996</c:v>
                </c:pt>
                <c:pt idx="28">
                  <c:v>4.2</c:v>
                </c:pt>
                <c:pt idx="29">
                  <c:v>4.2</c:v>
                </c:pt>
                <c:pt idx="30">
                  <c:v>4.2</c:v>
                </c:pt>
                <c:pt idx="31">
                  <c:v>4.0999999999999996</c:v>
                </c:pt>
                <c:pt idx="32">
                  <c:v>4.0999999999999996</c:v>
                </c:pt>
                <c:pt idx="33">
                  <c:v>3.9</c:v>
                </c:pt>
                <c:pt idx="34">
                  <c:v>3.5</c:v>
                </c:pt>
                <c:pt idx="35">
                  <c:v>3.1</c:v>
                </c:pt>
                <c:pt idx="36">
                  <c:v>3.4</c:v>
                </c:pt>
                <c:pt idx="37">
                  <c:v>3.4</c:v>
                </c:pt>
                <c:pt idx="38">
                  <c:v>3.5</c:v>
                </c:pt>
                <c:pt idx="39">
                  <c:v>3.9</c:v>
                </c:pt>
                <c:pt idx="40">
                  <c:v>4.2</c:v>
                </c:pt>
                <c:pt idx="41">
                  <c:v>4.3</c:v>
                </c:pt>
                <c:pt idx="42">
                  <c:v>4.3</c:v>
                </c:pt>
                <c:pt idx="43">
                  <c:v>4.3</c:v>
                </c:pt>
                <c:pt idx="44">
                  <c:v>4.3</c:v>
                </c:pt>
                <c:pt idx="45">
                  <c:v>4.2</c:v>
                </c:pt>
                <c:pt idx="46">
                  <c:v>4</c:v>
                </c:pt>
                <c:pt idx="47">
                  <c:v>3.6</c:v>
                </c:pt>
                <c:pt idx="48">
                  <c:v>3.9</c:v>
                </c:pt>
                <c:pt idx="49">
                  <c:v>3.5</c:v>
                </c:pt>
                <c:pt idx="50">
                  <c:v>3.8</c:v>
                </c:pt>
                <c:pt idx="51">
                  <c:v>4.2</c:v>
                </c:pt>
                <c:pt idx="52">
                  <c:v>4.3</c:v>
                </c:pt>
                <c:pt idx="53">
                  <c:v>4.3</c:v>
                </c:pt>
                <c:pt idx="54">
                  <c:v>4.0999999999999996</c:v>
                </c:pt>
                <c:pt idx="55">
                  <c:v>3.9</c:v>
                </c:pt>
                <c:pt idx="56">
                  <c:v>4</c:v>
                </c:pt>
                <c:pt idx="57">
                  <c:v>3.9</c:v>
                </c:pt>
                <c:pt idx="58">
                  <c:v>3.6</c:v>
                </c:pt>
                <c:pt idx="59">
                  <c:v>3.4</c:v>
                </c:pt>
                <c:pt idx="60">
                  <c:v>3.1</c:v>
                </c:pt>
                <c:pt idx="61">
                  <c:v>3</c:v>
                </c:pt>
                <c:pt idx="62">
                  <c:v>3.3</c:v>
                </c:pt>
                <c:pt idx="63">
                  <c:v>3.9</c:v>
                </c:pt>
                <c:pt idx="64">
                  <c:v>4.5</c:v>
                </c:pt>
                <c:pt idx="65">
                  <c:v>3.7</c:v>
                </c:pt>
                <c:pt idx="66">
                  <c:v>2.9</c:v>
                </c:pt>
                <c:pt idx="67">
                  <c:v>2.9</c:v>
                </c:pt>
                <c:pt idx="68">
                  <c:v>2.6</c:v>
                </c:pt>
                <c:pt idx="69">
                  <c:v>2.4</c:v>
                </c:pt>
                <c:pt idx="70">
                  <c:v>2.2000000000000002</c:v>
                </c:pt>
                <c:pt idx="71">
                  <c:v>1.8</c:v>
                </c:pt>
                <c:pt idx="72">
                  <c:v>1.8</c:v>
                </c:pt>
                <c:pt idx="73">
                  <c:v>1.9</c:v>
                </c:pt>
                <c:pt idx="74">
                  <c:v>2</c:v>
                </c:pt>
                <c:pt idx="75">
                  <c:v>2.2999999999999998</c:v>
                </c:pt>
                <c:pt idx="76">
                  <c:v>2.5</c:v>
                </c:pt>
                <c:pt idx="77">
                  <c:v>2.5</c:v>
                </c:pt>
                <c:pt idx="78">
                  <c:v>2.6</c:v>
                </c:pt>
                <c:pt idx="79">
                  <c:v>2.6</c:v>
                </c:pt>
                <c:pt idx="80">
                  <c:v>2.2999999999999998</c:v>
                </c:pt>
                <c:pt idx="81">
                  <c:v>2.2999999999999998</c:v>
                </c:pt>
                <c:pt idx="82">
                  <c:v>2</c:v>
                </c:pt>
                <c:pt idx="83">
                  <c:v>1.7</c:v>
                </c:pt>
                <c:pt idx="84">
                  <c:v>1.5</c:v>
                </c:pt>
                <c:pt idx="85" formatCode="0.0">
                  <c:v>1.7</c:v>
                </c:pt>
                <c:pt idx="86" formatCode="0.0">
                  <c:v>1.9</c:v>
                </c:pt>
                <c:pt idx="87" formatCode="0.0">
                  <c:v>2.2000000000000002</c:v>
                </c:pt>
                <c:pt idx="88" formatCode="0.0">
                  <c:v>2.5</c:v>
                </c:pt>
                <c:pt idx="89" formatCode="0.0">
                  <c:v>2.9</c:v>
                </c:pt>
                <c:pt idx="90" formatCode="0.0">
                  <c:v>3.2</c:v>
                </c:pt>
                <c:pt idx="91" formatCode="0.0">
                  <c:v>3.2</c:v>
                </c:pt>
                <c:pt idx="92" formatCode="0.0">
                  <c:v>3.2</c:v>
                </c:pt>
                <c:pt idx="93" formatCode="0.0">
                  <c:v>3.3</c:v>
                </c:pt>
                <c:pt idx="94" formatCode="0.0">
                  <c:v>3.3</c:v>
                </c:pt>
                <c:pt idx="95" formatCode="0.0">
                  <c:v>2.8</c:v>
                </c:pt>
                <c:pt idx="96" formatCode="0.0">
                  <c:v>2.9</c:v>
                </c:pt>
                <c:pt idx="97" formatCode="0.0">
                  <c:v>2.5</c:v>
                </c:pt>
                <c:pt idx="98" formatCode="0.0">
                  <c:v>2.6</c:v>
                </c:pt>
                <c:pt idx="99" formatCode="0.0">
                  <c:v>2.8</c:v>
                </c:pt>
                <c:pt idx="100" formatCode="0.0">
                  <c:v>3</c:v>
                </c:pt>
                <c:pt idx="101" formatCode="0.0">
                  <c:v>3.1</c:v>
                </c:pt>
                <c:pt idx="102" formatCode="0.0">
                  <c:v>3.2</c:v>
                </c:pt>
                <c:pt idx="103" formatCode="0.0">
                  <c:v>3.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010-4A47-9322-80DE0855947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Months</a:t>
                </a:r>
              </a:p>
            </c:rich>
          </c:tx>
          <c:layout>
            <c:manualLayout>
              <c:xMode val="edge"/>
              <c:yMode val="edge"/>
              <c:x val="0"/>
              <c:y val="0.428485892388451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1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New privately owned housing units started,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seasonally adjusted annual rate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34312003553335"/>
          <c:y val="1.4367891513560804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3202719338394281"/>
          <c:y val="7.5602650040492145E-2"/>
          <c:w val="0.83487885179481736"/>
          <c:h val="0.74854352580927397"/>
        </c:manualLayout>
      </c:layout>
      <c:lineChart>
        <c:grouping val="standard"/>
        <c:varyColors val="0"/>
        <c:ser>
          <c:idx val="0"/>
          <c:order val="0"/>
          <c:tx>
            <c:strRef>
              <c:f>'Housing starts'!$B$1</c:f>
              <c:strCache>
                <c:ptCount val="1"/>
                <c:pt idx="0">
                  <c:v> Starts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Housing starts'!$A$14:$A$225</c:f>
              <c:strCache>
                <c:ptCount val="212"/>
                <c:pt idx="0">
                  <c:v>2006</c:v>
                </c:pt>
                <c:pt idx="1">
                  <c:v>Feb-06</c:v>
                </c:pt>
                <c:pt idx="2">
                  <c:v>Mar-06</c:v>
                </c:pt>
                <c:pt idx="3">
                  <c:v>Apr-06</c:v>
                </c:pt>
                <c:pt idx="4">
                  <c:v>May-06</c:v>
                </c:pt>
                <c:pt idx="5">
                  <c:v>Jun-06</c:v>
                </c:pt>
                <c:pt idx="6">
                  <c:v>Jul-06</c:v>
                </c:pt>
                <c:pt idx="7">
                  <c:v>Aug-06</c:v>
                </c:pt>
                <c:pt idx="8">
                  <c:v>Sep-06</c:v>
                </c:pt>
                <c:pt idx="9">
                  <c:v>Oct-06</c:v>
                </c:pt>
                <c:pt idx="10">
                  <c:v>Nov-06</c:v>
                </c:pt>
                <c:pt idx="11">
                  <c:v>Dec-06</c:v>
                </c:pt>
                <c:pt idx="12">
                  <c:v>2007</c:v>
                </c:pt>
                <c:pt idx="13">
                  <c:v>Feb-07</c:v>
                </c:pt>
                <c:pt idx="14">
                  <c:v>Mar-07</c:v>
                </c:pt>
                <c:pt idx="15">
                  <c:v>Apr-07</c:v>
                </c:pt>
                <c:pt idx="16">
                  <c:v>May-07</c:v>
                </c:pt>
                <c:pt idx="17">
                  <c:v>Jun-07</c:v>
                </c:pt>
                <c:pt idx="18">
                  <c:v>Jul-07</c:v>
                </c:pt>
                <c:pt idx="19">
                  <c:v>Aug-07</c:v>
                </c:pt>
                <c:pt idx="20">
                  <c:v>Sep-07</c:v>
                </c:pt>
                <c:pt idx="21">
                  <c:v>Oct-07</c:v>
                </c:pt>
                <c:pt idx="22">
                  <c:v>Nov-07</c:v>
                </c:pt>
                <c:pt idx="23">
                  <c:v>Dec-07</c:v>
                </c:pt>
                <c:pt idx="24">
                  <c:v>2008</c:v>
                </c:pt>
                <c:pt idx="25">
                  <c:v>Feb-08</c:v>
                </c:pt>
                <c:pt idx="26">
                  <c:v>Mar-08</c:v>
                </c:pt>
                <c:pt idx="27">
                  <c:v>Apr-08</c:v>
                </c:pt>
                <c:pt idx="28">
                  <c:v>May-08</c:v>
                </c:pt>
                <c:pt idx="29">
                  <c:v>Jun-08</c:v>
                </c:pt>
                <c:pt idx="30">
                  <c:v>Jul-08</c:v>
                </c:pt>
                <c:pt idx="31">
                  <c:v>Aug-08</c:v>
                </c:pt>
                <c:pt idx="32">
                  <c:v>Sep-08</c:v>
                </c:pt>
                <c:pt idx="33">
                  <c:v>Oct-08</c:v>
                </c:pt>
                <c:pt idx="34">
                  <c:v>Nov-08</c:v>
                </c:pt>
                <c:pt idx="35">
                  <c:v>Dec-08</c:v>
                </c:pt>
                <c:pt idx="36">
                  <c:v>2009</c:v>
                </c:pt>
                <c:pt idx="37">
                  <c:v>Feb-09</c:v>
                </c:pt>
                <c:pt idx="38">
                  <c:v>Mar-09</c:v>
                </c:pt>
                <c:pt idx="39">
                  <c:v>Apr-09</c:v>
                </c:pt>
                <c:pt idx="40">
                  <c:v>May-09</c:v>
                </c:pt>
                <c:pt idx="41">
                  <c:v>Jun-09</c:v>
                </c:pt>
                <c:pt idx="42">
                  <c:v>Jul-09</c:v>
                </c:pt>
                <c:pt idx="43">
                  <c:v>Aug-09</c:v>
                </c:pt>
                <c:pt idx="44">
                  <c:v>Sep-09</c:v>
                </c:pt>
                <c:pt idx="45">
                  <c:v>Oct-09</c:v>
                </c:pt>
                <c:pt idx="46">
                  <c:v>Nov-09</c:v>
                </c:pt>
                <c:pt idx="47">
                  <c:v>Dec-09</c:v>
                </c:pt>
                <c:pt idx="48">
                  <c:v>2010</c:v>
                </c:pt>
                <c:pt idx="49">
                  <c:v>10-Feb</c:v>
                </c:pt>
                <c:pt idx="50">
                  <c:v>10-Mar</c:v>
                </c:pt>
                <c:pt idx="51">
                  <c:v>10-Apr</c:v>
                </c:pt>
                <c:pt idx="52">
                  <c:v>10-May</c:v>
                </c:pt>
                <c:pt idx="53">
                  <c:v>10-Jun</c:v>
                </c:pt>
                <c:pt idx="54">
                  <c:v>10-Jul</c:v>
                </c:pt>
                <c:pt idx="55">
                  <c:v>10-Aug</c:v>
                </c:pt>
                <c:pt idx="56">
                  <c:v>10-Sep</c:v>
                </c:pt>
                <c:pt idx="57">
                  <c:v>10-Oct</c:v>
                </c:pt>
                <c:pt idx="58">
                  <c:v>10-Nov</c:v>
                </c:pt>
                <c:pt idx="59">
                  <c:v>10-Dec</c:v>
                </c:pt>
                <c:pt idx="60">
                  <c:v>2011</c:v>
                </c:pt>
                <c:pt idx="61">
                  <c:v>11-Feb</c:v>
                </c:pt>
                <c:pt idx="62">
                  <c:v>11-Mar</c:v>
                </c:pt>
                <c:pt idx="63">
                  <c:v>11-Apr</c:v>
                </c:pt>
                <c:pt idx="64">
                  <c:v>11-May</c:v>
                </c:pt>
                <c:pt idx="65">
                  <c:v>11-Jun</c:v>
                </c:pt>
                <c:pt idx="66">
                  <c:v>11-Jul</c:v>
                </c:pt>
                <c:pt idx="67">
                  <c:v>11-Aug</c:v>
                </c:pt>
                <c:pt idx="68">
                  <c:v>11-Sep</c:v>
                </c:pt>
                <c:pt idx="69">
                  <c:v>11-Oct</c:v>
                </c:pt>
                <c:pt idx="70">
                  <c:v>11-Nov</c:v>
                </c:pt>
                <c:pt idx="71">
                  <c:v>11-Dec</c:v>
                </c:pt>
                <c:pt idx="72">
                  <c:v>2012</c:v>
                </c:pt>
                <c:pt idx="73">
                  <c:v>12-Feb</c:v>
                </c:pt>
                <c:pt idx="74">
                  <c:v>12-Mar</c:v>
                </c:pt>
                <c:pt idx="75">
                  <c:v>12-Apr</c:v>
                </c:pt>
                <c:pt idx="76">
                  <c:v>12-May</c:v>
                </c:pt>
                <c:pt idx="77">
                  <c:v>12-Jun</c:v>
                </c:pt>
                <c:pt idx="78">
                  <c:v>12-Jul</c:v>
                </c:pt>
                <c:pt idx="79">
                  <c:v>12-Aug</c:v>
                </c:pt>
                <c:pt idx="80">
                  <c:v>12-Sep</c:v>
                </c:pt>
                <c:pt idx="81">
                  <c:v>12-Oct</c:v>
                </c:pt>
                <c:pt idx="82">
                  <c:v>12-Nov</c:v>
                </c:pt>
                <c:pt idx="83">
                  <c:v>12-Dec</c:v>
                </c:pt>
                <c:pt idx="84">
                  <c:v>2013</c:v>
                </c:pt>
                <c:pt idx="85">
                  <c:v>13-Feb</c:v>
                </c:pt>
                <c:pt idx="86">
                  <c:v>13-Mar</c:v>
                </c:pt>
                <c:pt idx="87">
                  <c:v>13-Apr</c:v>
                </c:pt>
                <c:pt idx="88">
                  <c:v>13-May</c:v>
                </c:pt>
                <c:pt idx="89">
                  <c:v>13-Jun</c:v>
                </c:pt>
                <c:pt idx="90">
                  <c:v>13-Jul</c:v>
                </c:pt>
                <c:pt idx="91">
                  <c:v>13-Aug</c:v>
                </c:pt>
                <c:pt idx="92">
                  <c:v>13-Sep</c:v>
                </c:pt>
                <c:pt idx="93">
                  <c:v>13-Oct</c:v>
                </c:pt>
                <c:pt idx="94">
                  <c:v>13-Nov</c:v>
                </c:pt>
                <c:pt idx="95">
                  <c:v>13-Dec</c:v>
                </c:pt>
                <c:pt idx="96">
                  <c:v>2014</c:v>
                </c:pt>
                <c:pt idx="97">
                  <c:v>14-Feb</c:v>
                </c:pt>
                <c:pt idx="98">
                  <c:v>14-Mar</c:v>
                </c:pt>
                <c:pt idx="99">
                  <c:v>14-Apr</c:v>
                </c:pt>
                <c:pt idx="100">
                  <c:v>14-May</c:v>
                </c:pt>
                <c:pt idx="101">
                  <c:v>14-Jun</c:v>
                </c:pt>
                <c:pt idx="102">
                  <c:v>14-Jul</c:v>
                </c:pt>
                <c:pt idx="103">
                  <c:v>14-Aug</c:v>
                </c:pt>
                <c:pt idx="104">
                  <c:v>14-Sep</c:v>
                </c:pt>
                <c:pt idx="105">
                  <c:v>14-Oct</c:v>
                </c:pt>
                <c:pt idx="106">
                  <c:v>14-Nov</c:v>
                </c:pt>
                <c:pt idx="107">
                  <c:v>14-Dec</c:v>
                </c:pt>
                <c:pt idx="108">
                  <c:v>2015</c:v>
                </c:pt>
                <c:pt idx="109">
                  <c:v>15-Feb</c:v>
                </c:pt>
                <c:pt idx="110">
                  <c:v>15-Mar</c:v>
                </c:pt>
                <c:pt idx="111">
                  <c:v>15-Apr</c:v>
                </c:pt>
                <c:pt idx="112">
                  <c:v>15-May</c:v>
                </c:pt>
                <c:pt idx="113">
                  <c:v>15-Jun</c:v>
                </c:pt>
                <c:pt idx="114">
                  <c:v>15-Jul</c:v>
                </c:pt>
                <c:pt idx="115">
                  <c:v>15-Aug</c:v>
                </c:pt>
                <c:pt idx="116">
                  <c:v>15-Sep</c:v>
                </c:pt>
                <c:pt idx="117">
                  <c:v>15-Oct</c:v>
                </c:pt>
                <c:pt idx="118">
                  <c:v>15-Nov</c:v>
                </c:pt>
                <c:pt idx="119">
                  <c:v>15-Dec</c:v>
                </c:pt>
                <c:pt idx="120">
                  <c:v>2016</c:v>
                </c:pt>
                <c:pt idx="121">
                  <c:v>16-Feb</c:v>
                </c:pt>
                <c:pt idx="122">
                  <c:v>16-Mar</c:v>
                </c:pt>
                <c:pt idx="123">
                  <c:v>16-Apr</c:v>
                </c:pt>
                <c:pt idx="124">
                  <c:v>16-May</c:v>
                </c:pt>
                <c:pt idx="125">
                  <c:v>16-Jun</c:v>
                </c:pt>
                <c:pt idx="126">
                  <c:v>16-Jul</c:v>
                </c:pt>
                <c:pt idx="127">
                  <c:v>16-Aug</c:v>
                </c:pt>
                <c:pt idx="128">
                  <c:v>16-Sep</c:v>
                </c:pt>
                <c:pt idx="129">
                  <c:v>16-Oct</c:v>
                </c:pt>
                <c:pt idx="130">
                  <c:v>16-Nov</c:v>
                </c:pt>
                <c:pt idx="131">
                  <c:v>16-Dec</c:v>
                </c:pt>
                <c:pt idx="132">
                  <c:v>2017</c:v>
                </c:pt>
                <c:pt idx="133">
                  <c:v>17-Feb</c:v>
                </c:pt>
                <c:pt idx="134">
                  <c:v>17-Mar</c:v>
                </c:pt>
                <c:pt idx="135">
                  <c:v>17-Apr</c:v>
                </c:pt>
                <c:pt idx="136">
                  <c:v>17-May</c:v>
                </c:pt>
                <c:pt idx="137">
                  <c:v>17-Jun</c:v>
                </c:pt>
                <c:pt idx="138">
                  <c:v>17-Jul</c:v>
                </c:pt>
                <c:pt idx="139">
                  <c:v>17-Aug</c:v>
                </c:pt>
                <c:pt idx="140">
                  <c:v>17-Sep</c:v>
                </c:pt>
                <c:pt idx="141">
                  <c:v>17-Oct</c:v>
                </c:pt>
                <c:pt idx="142">
                  <c:v>17-Nov</c:v>
                </c:pt>
                <c:pt idx="143">
                  <c:v>17-Dec</c:v>
                </c:pt>
                <c:pt idx="144">
                  <c:v>2018</c:v>
                </c:pt>
                <c:pt idx="145">
                  <c:v>18-Feb</c:v>
                </c:pt>
                <c:pt idx="146">
                  <c:v>18-Mar</c:v>
                </c:pt>
                <c:pt idx="147">
                  <c:v>18-Apr</c:v>
                </c:pt>
                <c:pt idx="148">
                  <c:v>18-May</c:v>
                </c:pt>
                <c:pt idx="149">
                  <c:v>18-Jun</c:v>
                </c:pt>
                <c:pt idx="150">
                  <c:v>18-Jul</c:v>
                </c:pt>
                <c:pt idx="151">
                  <c:v>18-Aug</c:v>
                </c:pt>
                <c:pt idx="152">
                  <c:v>18-Sep</c:v>
                </c:pt>
                <c:pt idx="153">
                  <c:v>18-Oct</c:v>
                </c:pt>
                <c:pt idx="154">
                  <c:v>18-Nov</c:v>
                </c:pt>
                <c:pt idx="155">
                  <c:v>18-Dec</c:v>
                </c:pt>
                <c:pt idx="156">
                  <c:v>2019</c:v>
                </c:pt>
                <c:pt idx="157">
                  <c:v>19-Feb</c:v>
                </c:pt>
                <c:pt idx="158">
                  <c:v>19-Mar</c:v>
                </c:pt>
                <c:pt idx="159">
                  <c:v>19-Apr</c:v>
                </c:pt>
                <c:pt idx="160">
                  <c:v>19-May</c:v>
                </c:pt>
                <c:pt idx="161">
                  <c:v>19-Jun</c:v>
                </c:pt>
                <c:pt idx="162">
                  <c:v>19-Jul</c:v>
                </c:pt>
                <c:pt idx="163">
                  <c:v>19-Aug</c:v>
                </c:pt>
                <c:pt idx="164">
                  <c:v>19-Sep</c:v>
                </c:pt>
                <c:pt idx="165">
                  <c:v>19-Oct</c:v>
                </c:pt>
                <c:pt idx="166">
                  <c:v>19-Nov</c:v>
                </c:pt>
                <c:pt idx="167">
                  <c:v>19-Dec</c:v>
                </c:pt>
                <c:pt idx="168">
                  <c:v>2020</c:v>
                </c:pt>
                <c:pt idx="169">
                  <c:v>20-Feb</c:v>
                </c:pt>
                <c:pt idx="170">
                  <c:v>20-Mar</c:v>
                </c:pt>
                <c:pt idx="171">
                  <c:v>20-Apr</c:v>
                </c:pt>
                <c:pt idx="172">
                  <c:v>20-May</c:v>
                </c:pt>
                <c:pt idx="173">
                  <c:v>20-Jun</c:v>
                </c:pt>
                <c:pt idx="174">
                  <c:v>20-Jul</c:v>
                </c:pt>
                <c:pt idx="175">
                  <c:v>20-Aug</c:v>
                </c:pt>
                <c:pt idx="176">
                  <c:v>20-Sep</c:v>
                </c:pt>
                <c:pt idx="177">
                  <c:v>20-Oct</c:v>
                </c:pt>
                <c:pt idx="178">
                  <c:v>20-Nov</c:v>
                </c:pt>
                <c:pt idx="179">
                  <c:v>20-Dec</c:v>
                </c:pt>
                <c:pt idx="180">
                  <c:v>2021</c:v>
                </c:pt>
                <c:pt idx="181">
                  <c:v>21-Feb</c:v>
                </c:pt>
                <c:pt idx="182">
                  <c:v>21-Mar</c:v>
                </c:pt>
                <c:pt idx="183">
                  <c:v>21-Apr</c:v>
                </c:pt>
                <c:pt idx="184">
                  <c:v>21-May</c:v>
                </c:pt>
                <c:pt idx="185">
                  <c:v>21-Jun</c:v>
                </c:pt>
                <c:pt idx="186">
                  <c:v>21-Jul</c:v>
                </c:pt>
                <c:pt idx="187">
                  <c:v>21-Aug</c:v>
                </c:pt>
                <c:pt idx="188">
                  <c:v>21-Sep</c:v>
                </c:pt>
                <c:pt idx="189">
                  <c:v>21-Oct</c:v>
                </c:pt>
                <c:pt idx="190">
                  <c:v>21-Nov</c:v>
                </c:pt>
                <c:pt idx="191">
                  <c:v>21-Dec</c:v>
                </c:pt>
                <c:pt idx="192">
                  <c:v>2022</c:v>
                </c:pt>
                <c:pt idx="193">
                  <c:v>22-Feb</c:v>
                </c:pt>
                <c:pt idx="194">
                  <c:v>22-Mar</c:v>
                </c:pt>
                <c:pt idx="195">
                  <c:v>22-Apr</c:v>
                </c:pt>
                <c:pt idx="196">
                  <c:v>22-May</c:v>
                </c:pt>
                <c:pt idx="197">
                  <c:v>22-Jun</c:v>
                </c:pt>
                <c:pt idx="198">
                  <c:v>22-Jul</c:v>
                </c:pt>
                <c:pt idx="199">
                  <c:v>22-Aug</c:v>
                </c:pt>
                <c:pt idx="200">
                  <c:v>22-Sep</c:v>
                </c:pt>
                <c:pt idx="201">
                  <c:v>22-Oct</c:v>
                </c:pt>
                <c:pt idx="202">
                  <c:v>22-Nov</c:v>
                </c:pt>
                <c:pt idx="203">
                  <c:v>22-Dec</c:v>
                </c:pt>
                <c:pt idx="204">
                  <c:v>2023</c:v>
                </c:pt>
                <c:pt idx="205">
                  <c:v>23-Feb</c:v>
                </c:pt>
                <c:pt idx="206">
                  <c:v>23-Mar</c:v>
                </c:pt>
                <c:pt idx="207">
                  <c:v>23-Apr</c:v>
                </c:pt>
                <c:pt idx="208">
                  <c:v>23-May</c:v>
                </c:pt>
                <c:pt idx="209">
                  <c:v>23-Jun</c:v>
                </c:pt>
                <c:pt idx="210">
                  <c:v>23-Jul</c:v>
                </c:pt>
                <c:pt idx="211">
                  <c:v>23-Aug</c:v>
                </c:pt>
              </c:strCache>
            </c:strRef>
          </c:cat>
          <c:val>
            <c:numRef>
              <c:f>'Housing starts'!$B$14:$B$225</c:f>
              <c:numCache>
                <c:formatCode>#,##0</c:formatCode>
                <c:ptCount val="212"/>
                <c:pt idx="0">
                  <c:v>2273</c:v>
                </c:pt>
                <c:pt idx="1">
                  <c:v>2119</c:v>
                </c:pt>
                <c:pt idx="2">
                  <c:v>1969</c:v>
                </c:pt>
                <c:pt idx="3">
                  <c:v>1821</c:v>
                </c:pt>
                <c:pt idx="4">
                  <c:v>1942</c:v>
                </c:pt>
                <c:pt idx="5">
                  <c:v>1802</c:v>
                </c:pt>
                <c:pt idx="6">
                  <c:v>1737</c:v>
                </c:pt>
                <c:pt idx="7">
                  <c:v>1650</c:v>
                </c:pt>
                <c:pt idx="8">
                  <c:v>1720</c:v>
                </c:pt>
                <c:pt idx="9">
                  <c:v>1491</c:v>
                </c:pt>
                <c:pt idx="10">
                  <c:v>1570</c:v>
                </c:pt>
                <c:pt idx="11">
                  <c:v>1649</c:v>
                </c:pt>
                <c:pt idx="12">
                  <c:v>1409</c:v>
                </c:pt>
                <c:pt idx="13">
                  <c:v>1480</c:v>
                </c:pt>
                <c:pt idx="14">
                  <c:v>1495</c:v>
                </c:pt>
                <c:pt idx="15">
                  <c:v>1490</c:v>
                </c:pt>
                <c:pt idx="16">
                  <c:v>1415</c:v>
                </c:pt>
                <c:pt idx="17">
                  <c:v>1448</c:v>
                </c:pt>
                <c:pt idx="18">
                  <c:v>1354</c:v>
                </c:pt>
                <c:pt idx="19">
                  <c:v>1330</c:v>
                </c:pt>
                <c:pt idx="20">
                  <c:v>1183</c:v>
                </c:pt>
                <c:pt idx="21">
                  <c:v>1264</c:v>
                </c:pt>
                <c:pt idx="22">
                  <c:v>1197</c:v>
                </c:pt>
                <c:pt idx="23">
                  <c:v>1037</c:v>
                </c:pt>
                <c:pt idx="24">
                  <c:v>1084</c:v>
                </c:pt>
                <c:pt idx="25">
                  <c:v>1103</c:v>
                </c:pt>
                <c:pt idx="26">
                  <c:v>1005</c:v>
                </c:pt>
                <c:pt idx="27">
                  <c:v>1013</c:v>
                </c:pt>
                <c:pt idx="28">
                  <c:v>973</c:v>
                </c:pt>
                <c:pt idx="29">
                  <c:v>1046</c:v>
                </c:pt>
                <c:pt idx="30">
                  <c:v>923</c:v>
                </c:pt>
                <c:pt idx="31">
                  <c:v>844</c:v>
                </c:pt>
                <c:pt idx="32">
                  <c:v>820</c:v>
                </c:pt>
                <c:pt idx="33">
                  <c:v>777</c:v>
                </c:pt>
                <c:pt idx="34">
                  <c:v>652</c:v>
                </c:pt>
                <c:pt idx="35">
                  <c:v>560</c:v>
                </c:pt>
                <c:pt idx="36">
                  <c:v>490</c:v>
                </c:pt>
                <c:pt idx="37">
                  <c:v>582</c:v>
                </c:pt>
                <c:pt idx="38">
                  <c:v>505</c:v>
                </c:pt>
                <c:pt idx="39">
                  <c:v>478</c:v>
                </c:pt>
                <c:pt idx="40">
                  <c:v>540</c:v>
                </c:pt>
                <c:pt idx="41">
                  <c:v>585</c:v>
                </c:pt>
                <c:pt idx="42">
                  <c:v>594</c:v>
                </c:pt>
                <c:pt idx="43">
                  <c:v>586</c:v>
                </c:pt>
                <c:pt idx="44">
                  <c:v>585</c:v>
                </c:pt>
                <c:pt idx="45">
                  <c:v>534</c:v>
                </c:pt>
                <c:pt idx="46">
                  <c:v>588</c:v>
                </c:pt>
                <c:pt idx="47">
                  <c:v>581</c:v>
                </c:pt>
                <c:pt idx="48">
                  <c:v>614</c:v>
                </c:pt>
                <c:pt idx="49">
                  <c:v>604</c:v>
                </c:pt>
                <c:pt idx="50">
                  <c:v>636</c:v>
                </c:pt>
                <c:pt idx="51">
                  <c:v>687</c:v>
                </c:pt>
                <c:pt idx="52">
                  <c:v>583</c:v>
                </c:pt>
                <c:pt idx="53">
                  <c:v>536</c:v>
                </c:pt>
                <c:pt idx="54">
                  <c:v>546</c:v>
                </c:pt>
                <c:pt idx="55">
                  <c:v>599</c:v>
                </c:pt>
                <c:pt idx="56">
                  <c:v>594</c:v>
                </c:pt>
                <c:pt idx="57">
                  <c:v>543</c:v>
                </c:pt>
                <c:pt idx="58">
                  <c:v>545</c:v>
                </c:pt>
                <c:pt idx="59">
                  <c:v>539</c:v>
                </c:pt>
                <c:pt idx="60">
                  <c:v>630</c:v>
                </c:pt>
                <c:pt idx="61">
                  <c:v>517</c:v>
                </c:pt>
                <c:pt idx="62">
                  <c:v>600</c:v>
                </c:pt>
                <c:pt idx="63">
                  <c:v>554</c:v>
                </c:pt>
                <c:pt idx="64">
                  <c:v>561</c:v>
                </c:pt>
                <c:pt idx="65">
                  <c:v>608</c:v>
                </c:pt>
                <c:pt idx="66">
                  <c:v>623</c:v>
                </c:pt>
                <c:pt idx="67">
                  <c:v>585</c:v>
                </c:pt>
                <c:pt idx="68">
                  <c:v>650</c:v>
                </c:pt>
                <c:pt idx="69">
                  <c:v>610</c:v>
                </c:pt>
                <c:pt idx="70">
                  <c:v>711</c:v>
                </c:pt>
                <c:pt idx="71">
                  <c:v>694</c:v>
                </c:pt>
                <c:pt idx="72">
                  <c:v>723</c:v>
                </c:pt>
                <c:pt idx="73">
                  <c:v>704</c:v>
                </c:pt>
                <c:pt idx="74">
                  <c:v>695</c:v>
                </c:pt>
                <c:pt idx="75">
                  <c:v>753</c:v>
                </c:pt>
                <c:pt idx="76">
                  <c:v>708</c:v>
                </c:pt>
                <c:pt idx="77">
                  <c:v>757</c:v>
                </c:pt>
                <c:pt idx="78">
                  <c:v>740</c:v>
                </c:pt>
                <c:pt idx="79">
                  <c:v>754</c:v>
                </c:pt>
                <c:pt idx="80">
                  <c:v>847</c:v>
                </c:pt>
                <c:pt idx="81">
                  <c:v>915</c:v>
                </c:pt>
                <c:pt idx="82">
                  <c:v>833</c:v>
                </c:pt>
                <c:pt idx="83">
                  <c:v>976</c:v>
                </c:pt>
                <c:pt idx="84">
                  <c:v>888</c:v>
                </c:pt>
                <c:pt idx="85">
                  <c:v>962</c:v>
                </c:pt>
                <c:pt idx="86">
                  <c:v>1010</c:v>
                </c:pt>
                <c:pt idx="87">
                  <c:v>835</c:v>
                </c:pt>
                <c:pt idx="88">
                  <c:v>930</c:v>
                </c:pt>
                <c:pt idx="89">
                  <c:v>839</c:v>
                </c:pt>
                <c:pt idx="90">
                  <c:v>880</c:v>
                </c:pt>
                <c:pt idx="91">
                  <c:v>917</c:v>
                </c:pt>
                <c:pt idx="92">
                  <c:v>850</c:v>
                </c:pt>
                <c:pt idx="93">
                  <c:v>925</c:v>
                </c:pt>
                <c:pt idx="94">
                  <c:v>1100</c:v>
                </c:pt>
                <c:pt idx="95">
                  <c:v>1002</c:v>
                </c:pt>
                <c:pt idx="96">
                  <c:v>888</c:v>
                </c:pt>
                <c:pt idx="97">
                  <c:v>944</c:v>
                </c:pt>
                <c:pt idx="98">
                  <c:v>970</c:v>
                </c:pt>
                <c:pt idx="99">
                  <c:v>1043</c:v>
                </c:pt>
                <c:pt idx="100">
                  <c:v>1007</c:v>
                </c:pt>
                <c:pt idx="101">
                  <c:v>911</c:v>
                </c:pt>
                <c:pt idx="102">
                  <c:v>1085</c:v>
                </c:pt>
                <c:pt idx="103">
                  <c:v>984</c:v>
                </c:pt>
                <c:pt idx="104">
                  <c:v>1023</c:v>
                </c:pt>
                <c:pt idx="105">
                  <c:v>1074</c:v>
                </c:pt>
                <c:pt idx="106">
                  <c:v>1001</c:v>
                </c:pt>
                <c:pt idx="107">
                  <c:v>1073</c:v>
                </c:pt>
                <c:pt idx="108">
                  <c:v>1085</c:v>
                </c:pt>
                <c:pt idx="109">
                  <c:v>886</c:v>
                </c:pt>
                <c:pt idx="110">
                  <c:v>960</c:v>
                </c:pt>
                <c:pt idx="111">
                  <c:v>1190</c:v>
                </c:pt>
                <c:pt idx="112">
                  <c:v>1079</c:v>
                </c:pt>
                <c:pt idx="113">
                  <c:v>1205</c:v>
                </c:pt>
                <c:pt idx="114">
                  <c:v>1146</c:v>
                </c:pt>
                <c:pt idx="115">
                  <c:v>1130</c:v>
                </c:pt>
                <c:pt idx="116">
                  <c:v>1224</c:v>
                </c:pt>
                <c:pt idx="117">
                  <c:v>1058</c:v>
                </c:pt>
                <c:pt idx="118">
                  <c:v>1172</c:v>
                </c:pt>
                <c:pt idx="119">
                  <c:v>1146</c:v>
                </c:pt>
                <c:pt idx="120">
                  <c:v>1092</c:v>
                </c:pt>
                <c:pt idx="121">
                  <c:v>1225</c:v>
                </c:pt>
                <c:pt idx="122">
                  <c:v>1111</c:v>
                </c:pt>
                <c:pt idx="123">
                  <c:v>1163</c:v>
                </c:pt>
                <c:pt idx="124">
                  <c:v>1148</c:v>
                </c:pt>
                <c:pt idx="125">
                  <c:v>1203</c:v>
                </c:pt>
                <c:pt idx="126">
                  <c:v>1239</c:v>
                </c:pt>
                <c:pt idx="127">
                  <c:v>1171</c:v>
                </c:pt>
                <c:pt idx="128">
                  <c:v>1068</c:v>
                </c:pt>
                <c:pt idx="129">
                  <c:v>1313</c:v>
                </c:pt>
                <c:pt idx="130">
                  <c:v>1140</c:v>
                </c:pt>
                <c:pt idx="131">
                  <c:v>1252</c:v>
                </c:pt>
                <c:pt idx="132">
                  <c:v>1190</c:v>
                </c:pt>
                <c:pt idx="133">
                  <c:v>1271</c:v>
                </c:pt>
                <c:pt idx="134">
                  <c:v>1190</c:v>
                </c:pt>
                <c:pt idx="135">
                  <c:v>1146</c:v>
                </c:pt>
                <c:pt idx="136">
                  <c:v>1157</c:v>
                </c:pt>
                <c:pt idx="137">
                  <c:v>1249</c:v>
                </c:pt>
                <c:pt idx="138">
                  <c:v>1206</c:v>
                </c:pt>
                <c:pt idx="139">
                  <c:v>1159</c:v>
                </c:pt>
                <c:pt idx="140">
                  <c:v>1181</c:v>
                </c:pt>
                <c:pt idx="141">
                  <c:v>1257</c:v>
                </c:pt>
                <c:pt idx="142">
                  <c:v>1273</c:v>
                </c:pt>
                <c:pt idx="143">
                  <c:v>1177</c:v>
                </c:pt>
                <c:pt idx="144">
                  <c:v>1299</c:v>
                </c:pt>
                <c:pt idx="145">
                  <c:v>1277</c:v>
                </c:pt>
                <c:pt idx="146">
                  <c:v>1318</c:v>
                </c:pt>
                <c:pt idx="147">
                  <c:v>1276</c:v>
                </c:pt>
                <c:pt idx="148">
                  <c:v>1357</c:v>
                </c:pt>
                <c:pt idx="149">
                  <c:v>1192</c:v>
                </c:pt>
                <c:pt idx="150">
                  <c:v>1208</c:v>
                </c:pt>
                <c:pt idx="151">
                  <c:v>1288</c:v>
                </c:pt>
                <c:pt idx="152">
                  <c:v>1250</c:v>
                </c:pt>
                <c:pt idx="153">
                  <c:v>1221</c:v>
                </c:pt>
                <c:pt idx="154">
                  <c:v>1181</c:v>
                </c:pt>
                <c:pt idx="155">
                  <c:v>1095</c:v>
                </c:pt>
                <c:pt idx="156">
                  <c:v>1232</c:v>
                </c:pt>
                <c:pt idx="157">
                  <c:v>1128</c:v>
                </c:pt>
                <c:pt idx="158">
                  <c:v>1195</c:v>
                </c:pt>
                <c:pt idx="159">
                  <c:v>1267</c:v>
                </c:pt>
                <c:pt idx="160">
                  <c:v>1307</c:v>
                </c:pt>
                <c:pt idx="161">
                  <c:v>1228</c:v>
                </c:pt>
                <c:pt idx="162">
                  <c:v>1245</c:v>
                </c:pt>
                <c:pt idx="163">
                  <c:v>1367</c:v>
                </c:pt>
                <c:pt idx="164">
                  <c:v>1300</c:v>
                </c:pt>
                <c:pt idx="165">
                  <c:v>1332</c:v>
                </c:pt>
                <c:pt idx="166">
                  <c:v>1346</c:v>
                </c:pt>
                <c:pt idx="167">
                  <c:v>1551</c:v>
                </c:pt>
                <c:pt idx="168">
                  <c:v>1572</c:v>
                </c:pt>
                <c:pt idx="169">
                  <c:v>1565</c:v>
                </c:pt>
                <c:pt idx="170">
                  <c:v>1267</c:v>
                </c:pt>
                <c:pt idx="171">
                  <c:v>925</c:v>
                </c:pt>
                <c:pt idx="172">
                  <c:v>1054</c:v>
                </c:pt>
                <c:pt idx="173">
                  <c:v>1266</c:v>
                </c:pt>
                <c:pt idx="174">
                  <c:v>1529</c:v>
                </c:pt>
                <c:pt idx="175">
                  <c:v>1377</c:v>
                </c:pt>
                <c:pt idx="176">
                  <c:v>1463</c:v>
                </c:pt>
                <c:pt idx="177">
                  <c:v>1537</c:v>
                </c:pt>
                <c:pt idx="178">
                  <c:v>1545</c:v>
                </c:pt>
                <c:pt idx="179">
                  <c:v>1663</c:v>
                </c:pt>
                <c:pt idx="180">
                  <c:v>1602</c:v>
                </c:pt>
                <c:pt idx="181">
                  <c:v>1422</c:v>
                </c:pt>
                <c:pt idx="182">
                  <c:v>1700</c:v>
                </c:pt>
                <c:pt idx="183">
                  <c:v>1484</c:v>
                </c:pt>
                <c:pt idx="184">
                  <c:v>1600</c:v>
                </c:pt>
                <c:pt idx="185">
                  <c:v>1661</c:v>
                </c:pt>
                <c:pt idx="186">
                  <c:v>1593</c:v>
                </c:pt>
                <c:pt idx="187">
                  <c:v>1576</c:v>
                </c:pt>
                <c:pt idx="188">
                  <c:v>1560</c:v>
                </c:pt>
                <c:pt idx="189">
                  <c:v>1572</c:v>
                </c:pt>
                <c:pt idx="190">
                  <c:v>1712</c:v>
                </c:pt>
                <c:pt idx="191">
                  <c:v>1787</c:v>
                </c:pt>
                <c:pt idx="192">
                  <c:v>1669</c:v>
                </c:pt>
                <c:pt idx="193">
                  <c:v>1771</c:v>
                </c:pt>
                <c:pt idx="194">
                  <c:v>1713</c:v>
                </c:pt>
                <c:pt idx="195">
                  <c:v>1803</c:v>
                </c:pt>
                <c:pt idx="196">
                  <c:v>1543</c:v>
                </c:pt>
                <c:pt idx="197">
                  <c:v>1561</c:v>
                </c:pt>
                <c:pt idx="198">
                  <c:v>1371</c:v>
                </c:pt>
                <c:pt idx="199">
                  <c:v>1505</c:v>
                </c:pt>
                <c:pt idx="200">
                  <c:v>1463</c:v>
                </c:pt>
                <c:pt idx="201">
                  <c:v>1432</c:v>
                </c:pt>
                <c:pt idx="202">
                  <c:v>1427</c:v>
                </c:pt>
                <c:pt idx="203">
                  <c:v>1357</c:v>
                </c:pt>
                <c:pt idx="204">
                  <c:v>1340</c:v>
                </c:pt>
                <c:pt idx="205">
                  <c:v>1436</c:v>
                </c:pt>
                <c:pt idx="206">
                  <c:v>1380</c:v>
                </c:pt>
                <c:pt idx="207">
                  <c:v>1348</c:v>
                </c:pt>
                <c:pt idx="208">
                  <c:v>1583</c:v>
                </c:pt>
                <c:pt idx="209">
                  <c:v>1418</c:v>
                </c:pt>
                <c:pt idx="210">
                  <c:v>1447</c:v>
                </c:pt>
                <c:pt idx="211">
                  <c:v>12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268-4D0F-9CBF-AD08B839E4C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Thousands</a:t>
                </a:r>
              </a:p>
            </c:rich>
          </c:tx>
          <c:layout>
            <c:manualLayout>
              <c:xMode val="edge"/>
              <c:yMode val="edge"/>
              <c:x val="0"/>
              <c:y val="0.4284858923884514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="0" u="none" baseline="0" dirty="0">
                <a:solidFill>
                  <a:sysClr val="windowText" lastClr="000000"/>
                </a:solidFill>
              </a:rPr>
              <a:t>Consumer Price Index, </a:t>
            </a:r>
            <a:r>
              <a:rPr lang="en-US" sz="1400" b="1" u="sng" baseline="0" dirty="0">
                <a:solidFill>
                  <a:sysClr val="windowText" lastClr="000000"/>
                </a:solidFill>
              </a:rPr>
              <a:t>12-month change</a:t>
            </a:r>
            <a:r>
              <a:rPr lang="en-US" sz="1400" b="0" u="none" baseline="0" dirty="0">
                <a:solidFill>
                  <a:sysClr val="windowText" lastClr="000000"/>
                </a:solidFill>
              </a:rPr>
              <a:t>, not s</a:t>
            </a:r>
            <a:r>
              <a:rPr lang="en-US" sz="1400" baseline="0" dirty="0">
                <a:solidFill>
                  <a:sysClr val="windowText" lastClr="000000"/>
                </a:solidFill>
              </a:rPr>
              <a:t>easonally adjusted</a:t>
            </a:r>
            <a:endParaRPr lang="en-US" sz="1400" dirty="0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5.1604568450682793E-2"/>
          <c:y val="1.5143919510061242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3144185781125189E-2"/>
          <c:y val="8.0364917210627482E-2"/>
          <c:w val="0.92174198333903912"/>
          <c:h val="0.75911592300962383"/>
        </c:manualLayout>
      </c:layout>
      <c:lineChart>
        <c:grouping val="standard"/>
        <c:varyColors val="0"/>
        <c:ser>
          <c:idx val="0"/>
          <c:order val="0"/>
          <c:tx>
            <c:strRef>
              <c:f>'CPI-12-Commodities&amp;Services'!$C$2</c:f>
              <c:strCache>
                <c:ptCount val="1"/>
                <c:pt idx="0">
                  <c:v> Services, less energy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'CPI-12-Commodities&amp;Services'!$A$15:$A$275</c:f>
              <c:numCache>
                <c:formatCode>General</c:formatCode>
                <c:ptCount val="261"/>
                <c:pt idx="0">
                  <c:v>2002</c:v>
                </c:pt>
                <c:pt idx="12">
                  <c:v>2003</c:v>
                </c:pt>
                <c:pt idx="24">
                  <c:v>2004</c:v>
                </c:pt>
                <c:pt idx="36">
                  <c:v>2005</c:v>
                </c:pt>
                <c:pt idx="48">
                  <c:v>2006</c:v>
                </c:pt>
                <c:pt idx="60">
                  <c:v>2007</c:v>
                </c:pt>
                <c:pt idx="72">
                  <c:v>2008</c:v>
                </c:pt>
                <c:pt idx="84">
                  <c:v>2009</c:v>
                </c:pt>
                <c:pt idx="96">
                  <c:v>2010</c:v>
                </c:pt>
                <c:pt idx="108">
                  <c:v>2011</c:v>
                </c:pt>
                <c:pt idx="120">
                  <c:v>2012</c:v>
                </c:pt>
                <c:pt idx="132">
                  <c:v>2013</c:v>
                </c:pt>
                <c:pt idx="144">
                  <c:v>2014</c:v>
                </c:pt>
                <c:pt idx="156">
                  <c:v>2015</c:v>
                </c:pt>
                <c:pt idx="168">
                  <c:v>2016</c:v>
                </c:pt>
                <c:pt idx="180">
                  <c:v>2017</c:v>
                </c:pt>
                <c:pt idx="192">
                  <c:v>2018</c:v>
                </c:pt>
                <c:pt idx="204">
                  <c:v>2019</c:v>
                </c:pt>
                <c:pt idx="216">
                  <c:v>2020</c:v>
                </c:pt>
                <c:pt idx="228">
                  <c:v>2021</c:v>
                </c:pt>
                <c:pt idx="229" formatCode="d\-mmm">
                  <c:v>42786</c:v>
                </c:pt>
                <c:pt idx="230" formatCode="d\-mmm">
                  <c:v>42814</c:v>
                </c:pt>
                <c:pt idx="231" formatCode="d\-mmm">
                  <c:v>42845</c:v>
                </c:pt>
                <c:pt idx="232" formatCode="d\-mmm">
                  <c:v>42875</c:v>
                </c:pt>
                <c:pt idx="233" formatCode="d\-mmm">
                  <c:v>42906</c:v>
                </c:pt>
                <c:pt idx="234" formatCode="d\-mmm">
                  <c:v>42936</c:v>
                </c:pt>
                <c:pt idx="235" formatCode="d\-mmm">
                  <c:v>42967</c:v>
                </c:pt>
                <c:pt idx="236" formatCode="d\-mmm">
                  <c:v>42998</c:v>
                </c:pt>
                <c:pt idx="237" formatCode="d\-mmm">
                  <c:v>43028</c:v>
                </c:pt>
                <c:pt idx="238" formatCode="d\-mmm">
                  <c:v>43059</c:v>
                </c:pt>
                <c:pt idx="239" formatCode="d\-mmm">
                  <c:v>43089</c:v>
                </c:pt>
                <c:pt idx="240">
                  <c:v>2022</c:v>
                </c:pt>
                <c:pt idx="241" formatCode="d\-mmm">
                  <c:v>43152</c:v>
                </c:pt>
                <c:pt idx="242" formatCode="d\-mmm">
                  <c:v>43180</c:v>
                </c:pt>
                <c:pt idx="243" formatCode="d\-mmm">
                  <c:v>43211</c:v>
                </c:pt>
                <c:pt idx="244" formatCode="d\-mmm">
                  <c:v>43241</c:v>
                </c:pt>
                <c:pt idx="245" formatCode="d\-mmm">
                  <c:v>43272</c:v>
                </c:pt>
                <c:pt idx="246" formatCode="d\-mmm">
                  <c:v>43302</c:v>
                </c:pt>
                <c:pt idx="247" formatCode="d\-mmm">
                  <c:v>43333</c:v>
                </c:pt>
                <c:pt idx="248" formatCode="d\-mmm">
                  <c:v>43364</c:v>
                </c:pt>
                <c:pt idx="249" formatCode="d\-mmm">
                  <c:v>43394</c:v>
                </c:pt>
                <c:pt idx="250" formatCode="d\-mmm">
                  <c:v>43790</c:v>
                </c:pt>
                <c:pt idx="251" formatCode="d\-mmm">
                  <c:v>43820</c:v>
                </c:pt>
                <c:pt idx="252">
                  <c:v>2023</c:v>
                </c:pt>
                <c:pt idx="253" formatCode="d\-mmm">
                  <c:v>43518</c:v>
                </c:pt>
                <c:pt idx="254" formatCode="d\-mmm">
                  <c:v>43546</c:v>
                </c:pt>
                <c:pt idx="255" formatCode="d\-mmm">
                  <c:v>43577</c:v>
                </c:pt>
                <c:pt idx="256" formatCode="d\-mmm">
                  <c:v>43607</c:v>
                </c:pt>
                <c:pt idx="257" formatCode="d\-mmm">
                  <c:v>43638</c:v>
                </c:pt>
                <c:pt idx="258" formatCode="d\-mmm">
                  <c:v>43668</c:v>
                </c:pt>
                <c:pt idx="259" formatCode="d\-mmm">
                  <c:v>43699</c:v>
                </c:pt>
              </c:numCache>
            </c:numRef>
          </c:cat>
          <c:val>
            <c:numRef>
              <c:f>'CPI-12-Commodities&amp;Services'!$C$15:$C$275</c:f>
              <c:numCache>
                <c:formatCode>0.0%</c:formatCode>
                <c:ptCount val="261"/>
                <c:pt idx="0">
                  <c:v>3.9E-2</c:v>
                </c:pt>
                <c:pt idx="1">
                  <c:v>0.04</c:v>
                </c:pt>
                <c:pt idx="2">
                  <c:v>3.9E-2</c:v>
                </c:pt>
                <c:pt idx="3">
                  <c:v>0.04</c:v>
                </c:pt>
                <c:pt idx="4">
                  <c:v>3.9E-2</c:v>
                </c:pt>
                <c:pt idx="5">
                  <c:v>3.6999999999999998E-2</c:v>
                </c:pt>
                <c:pt idx="6">
                  <c:v>3.7999999999999999E-2</c:v>
                </c:pt>
                <c:pt idx="7">
                  <c:v>3.6999999999999998E-2</c:v>
                </c:pt>
                <c:pt idx="8">
                  <c:v>3.5999999999999997E-2</c:v>
                </c:pt>
                <c:pt idx="9">
                  <c:v>3.6999999999999998E-2</c:v>
                </c:pt>
                <c:pt idx="10">
                  <c:v>3.5000000000000003E-2</c:v>
                </c:pt>
                <c:pt idx="11">
                  <c:v>3.4000000000000002E-2</c:v>
                </c:pt>
                <c:pt idx="12">
                  <c:v>3.4000000000000002E-2</c:v>
                </c:pt>
                <c:pt idx="13">
                  <c:v>3.2000000000000001E-2</c:v>
                </c:pt>
                <c:pt idx="14">
                  <c:v>0.03</c:v>
                </c:pt>
                <c:pt idx="15">
                  <c:v>2.9000000000000001E-2</c:v>
                </c:pt>
                <c:pt idx="16">
                  <c:v>0.03</c:v>
                </c:pt>
                <c:pt idx="17">
                  <c:v>2.9000000000000001E-2</c:v>
                </c:pt>
                <c:pt idx="18">
                  <c:v>2.9000000000000001E-2</c:v>
                </c:pt>
                <c:pt idx="19">
                  <c:v>2.7E-2</c:v>
                </c:pt>
                <c:pt idx="20">
                  <c:v>2.7E-2</c:v>
                </c:pt>
                <c:pt idx="21">
                  <c:v>2.9000000000000001E-2</c:v>
                </c:pt>
                <c:pt idx="22">
                  <c:v>2.5999999999999999E-2</c:v>
                </c:pt>
                <c:pt idx="23">
                  <c:v>2.5999999999999999E-2</c:v>
                </c:pt>
                <c:pt idx="24">
                  <c:v>2.5000000000000001E-2</c:v>
                </c:pt>
                <c:pt idx="25">
                  <c:v>2.5000000000000001E-2</c:v>
                </c:pt>
                <c:pt idx="26">
                  <c:v>2.9000000000000001E-2</c:v>
                </c:pt>
                <c:pt idx="27">
                  <c:v>3.1E-2</c:v>
                </c:pt>
                <c:pt idx="28">
                  <c:v>2.9000000000000001E-2</c:v>
                </c:pt>
                <c:pt idx="29">
                  <c:v>0.03</c:v>
                </c:pt>
                <c:pt idx="30">
                  <c:v>0.03</c:v>
                </c:pt>
                <c:pt idx="31">
                  <c:v>2.9000000000000001E-2</c:v>
                </c:pt>
                <c:pt idx="32">
                  <c:v>0.03</c:v>
                </c:pt>
                <c:pt idx="33">
                  <c:v>2.8000000000000001E-2</c:v>
                </c:pt>
                <c:pt idx="34">
                  <c:v>2.8000000000000001E-2</c:v>
                </c:pt>
                <c:pt idx="35">
                  <c:v>2.8000000000000001E-2</c:v>
                </c:pt>
                <c:pt idx="36">
                  <c:v>2.8000000000000001E-2</c:v>
                </c:pt>
                <c:pt idx="37">
                  <c:v>0.03</c:v>
                </c:pt>
                <c:pt idx="38">
                  <c:v>0.03</c:v>
                </c:pt>
                <c:pt idx="39">
                  <c:v>2.9000000000000001E-2</c:v>
                </c:pt>
                <c:pt idx="40">
                  <c:v>2.7E-2</c:v>
                </c:pt>
                <c:pt idx="41">
                  <c:v>2.7E-2</c:v>
                </c:pt>
                <c:pt idx="42">
                  <c:v>2.8000000000000001E-2</c:v>
                </c:pt>
                <c:pt idx="43">
                  <c:v>2.7E-2</c:v>
                </c:pt>
                <c:pt idx="44">
                  <c:v>2.5000000000000001E-2</c:v>
                </c:pt>
                <c:pt idx="45">
                  <c:v>2.7E-2</c:v>
                </c:pt>
                <c:pt idx="46">
                  <c:v>2.9000000000000001E-2</c:v>
                </c:pt>
                <c:pt idx="47">
                  <c:v>2.9000000000000001E-2</c:v>
                </c:pt>
                <c:pt idx="48">
                  <c:v>2.9000000000000001E-2</c:v>
                </c:pt>
                <c:pt idx="49">
                  <c:v>2.9000000000000001E-2</c:v>
                </c:pt>
                <c:pt idx="50">
                  <c:v>2.8000000000000001E-2</c:v>
                </c:pt>
                <c:pt idx="51">
                  <c:v>3.1E-2</c:v>
                </c:pt>
                <c:pt idx="52">
                  <c:v>3.3000000000000002E-2</c:v>
                </c:pt>
                <c:pt idx="53">
                  <c:v>3.5000000000000003E-2</c:v>
                </c:pt>
                <c:pt idx="54">
                  <c:v>3.5000000000000003E-2</c:v>
                </c:pt>
                <c:pt idx="55">
                  <c:v>3.6999999999999998E-2</c:v>
                </c:pt>
                <c:pt idx="56">
                  <c:v>3.9E-2</c:v>
                </c:pt>
                <c:pt idx="57">
                  <c:v>3.7999999999999999E-2</c:v>
                </c:pt>
                <c:pt idx="58">
                  <c:v>3.6999999999999998E-2</c:v>
                </c:pt>
                <c:pt idx="59">
                  <c:v>3.6999999999999998E-2</c:v>
                </c:pt>
                <c:pt idx="60">
                  <c:v>3.7999999999999999E-2</c:v>
                </c:pt>
                <c:pt idx="61">
                  <c:v>3.7999999999999999E-2</c:v>
                </c:pt>
                <c:pt idx="62">
                  <c:v>3.5999999999999997E-2</c:v>
                </c:pt>
                <c:pt idx="63">
                  <c:v>3.5000000000000003E-2</c:v>
                </c:pt>
                <c:pt idx="64">
                  <c:v>3.4000000000000002E-2</c:v>
                </c:pt>
                <c:pt idx="65">
                  <c:v>3.4000000000000002E-2</c:v>
                </c:pt>
                <c:pt idx="66">
                  <c:v>3.3000000000000002E-2</c:v>
                </c:pt>
                <c:pt idx="67">
                  <c:v>3.2000000000000001E-2</c:v>
                </c:pt>
                <c:pt idx="68">
                  <c:v>3.3000000000000002E-2</c:v>
                </c:pt>
                <c:pt idx="69">
                  <c:v>3.2000000000000001E-2</c:v>
                </c:pt>
                <c:pt idx="70">
                  <c:v>3.3000000000000002E-2</c:v>
                </c:pt>
                <c:pt idx="71">
                  <c:v>3.3000000000000002E-2</c:v>
                </c:pt>
                <c:pt idx="72">
                  <c:v>3.4000000000000002E-2</c:v>
                </c:pt>
                <c:pt idx="73">
                  <c:v>3.2000000000000001E-2</c:v>
                </c:pt>
                <c:pt idx="74">
                  <c:v>3.3000000000000002E-2</c:v>
                </c:pt>
                <c:pt idx="75">
                  <c:v>3.1E-2</c:v>
                </c:pt>
                <c:pt idx="76">
                  <c:v>3.2000000000000001E-2</c:v>
                </c:pt>
                <c:pt idx="77">
                  <c:v>3.3000000000000002E-2</c:v>
                </c:pt>
                <c:pt idx="78">
                  <c:v>3.3000000000000002E-2</c:v>
                </c:pt>
                <c:pt idx="79">
                  <c:v>3.3000000000000002E-2</c:v>
                </c:pt>
                <c:pt idx="80">
                  <c:v>3.2000000000000001E-2</c:v>
                </c:pt>
                <c:pt idx="81">
                  <c:v>0.03</c:v>
                </c:pt>
                <c:pt idx="82">
                  <c:v>2.9000000000000001E-2</c:v>
                </c:pt>
                <c:pt idx="83">
                  <c:v>2.7E-2</c:v>
                </c:pt>
                <c:pt idx="84">
                  <c:v>2.5000000000000001E-2</c:v>
                </c:pt>
                <c:pt idx="85">
                  <c:v>2.5000000000000001E-2</c:v>
                </c:pt>
                <c:pt idx="86">
                  <c:v>2.3E-2</c:v>
                </c:pt>
                <c:pt idx="87">
                  <c:v>2.3E-2</c:v>
                </c:pt>
                <c:pt idx="88">
                  <c:v>2.1000000000000001E-2</c:v>
                </c:pt>
                <c:pt idx="89">
                  <c:v>1.7999999999999999E-2</c:v>
                </c:pt>
                <c:pt idx="90">
                  <c:v>1.6E-2</c:v>
                </c:pt>
                <c:pt idx="91">
                  <c:v>1.6E-2</c:v>
                </c:pt>
                <c:pt idx="92">
                  <c:v>1.4999999999999999E-2</c:v>
                </c:pt>
                <c:pt idx="93">
                  <c:v>1.4999999999999999E-2</c:v>
                </c:pt>
                <c:pt idx="94">
                  <c:v>1.4E-2</c:v>
                </c:pt>
                <c:pt idx="95">
                  <c:v>1.4E-2</c:v>
                </c:pt>
                <c:pt idx="96">
                  <c:v>0.01</c:v>
                </c:pt>
                <c:pt idx="97">
                  <c:v>8.9999999999999993E-3</c:v>
                </c:pt>
                <c:pt idx="98">
                  <c:v>8.0000000000000002E-3</c:v>
                </c:pt>
                <c:pt idx="99">
                  <c:v>8.0000000000000002E-3</c:v>
                </c:pt>
                <c:pt idx="100">
                  <c:v>8.9999999999999993E-3</c:v>
                </c:pt>
                <c:pt idx="101">
                  <c:v>8.9999999999999993E-3</c:v>
                </c:pt>
                <c:pt idx="102">
                  <c:v>8.0000000000000002E-3</c:v>
                </c:pt>
                <c:pt idx="103">
                  <c:v>7.0000000000000001E-3</c:v>
                </c:pt>
                <c:pt idx="104">
                  <c:v>8.0000000000000002E-3</c:v>
                </c:pt>
                <c:pt idx="105">
                  <c:v>8.0000000000000002E-3</c:v>
                </c:pt>
                <c:pt idx="106">
                  <c:v>1.0999999999999999E-2</c:v>
                </c:pt>
                <c:pt idx="107">
                  <c:v>1.2999999999999999E-2</c:v>
                </c:pt>
                <c:pt idx="108">
                  <c:v>1.4E-2</c:v>
                </c:pt>
                <c:pt idx="109">
                  <c:v>1.4999999999999999E-2</c:v>
                </c:pt>
                <c:pt idx="110">
                  <c:v>1.6E-2</c:v>
                </c:pt>
                <c:pt idx="111">
                  <c:v>1.6E-2</c:v>
                </c:pt>
                <c:pt idx="112">
                  <c:v>1.6E-2</c:v>
                </c:pt>
                <c:pt idx="113">
                  <c:v>1.6E-2</c:v>
                </c:pt>
                <c:pt idx="114">
                  <c:v>1.7000000000000001E-2</c:v>
                </c:pt>
                <c:pt idx="115">
                  <c:v>1.9E-2</c:v>
                </c:pt>
                <c:pt idx="116">
                  <c:v>0.02</c:v>
                </c:pt>
                <c:pt idx="117">
                  <c:v>2.1000000000000001E-2</c:v>
                </c:pt>
                <c:pt idx="118">
                  <c:v>2.1000000000000001E-2</c:v>
                </c:pt>
                <c:pt idx="119">
                  <c:v>2.3E-2</c:v>
                </c:pt>
                <c:pt idx="120">
                  <c:v>2.3E-2</c:v>
                </c:pt>
                <c:pt idx="121">
                  <c:v>2.1999999999999999E-2</c:v>
                </c:pt>
                <c:pt idx="122">
                  <c:v>2.3E-2</c:v>
                </c:pt>
                <c:pt idx="123">
                  <c:v>2.4E-2</c:v>
                </c:pt>
                <c:pt idx="124">
                  <c:v>2.5000000000000001E-2</c:v>
                </c:pt>
                <c:pt idx="125">
                  <c:v>2.5000000000000001E-2</c:v>
                </c:pt>
                <c:pt idx="126">
                  <c:v>2.5000000000000001E-2</c:v>
                </c:pt>
                <c:pt idx="127">
                  <c:v>2.4E-2</c:v>
                </c:pt>
                <c:pt idx="128">
                  <c:v>2.5000000000000001E-2</c:v>
                </c:pt>
                <c:pt idx="129">
                  <c:v>2.5000000000000001E-2</c:v>
                </c:pt>
                <c:pt idx="130">
                  <c:v>2.5000000000000001E-2</c:v>
                </c:pt>
                <c:pt idx="131">
                  <c:v>2.5000000000000001E-2</c:v>
                </c:pt>
                <c:pt idx="132">
                  <c:v>2.5000000000000001E-2</c:v>
                </c:pt>
                <c:pt idx="133">
                  <c:v>2.5999999999999999E-2</c:v>
                </c:pt>
                <c:pt idx="134">
                  <c:v>2.5000000000000001E-2</c:v>
                </c:pt>
                <c:pt idx="135">
                  <c:v>2.3E-2</c:v>
                </c:pt>
                <c:pt idx="136">
                  <c:v>2.3E-2</c:v>
                </c:pt>
                <c:pt idx="137">
                  <c:v>2.3E-2</c:v>
                </c:pt>
                <c:pt idx="138">
                  <c:v>2.4E-2</c:v>
                </c:pt>
                <c:pt idx="139">
                  <c:v>2.4E-2</c:v>
                </c:pt>
                <c:pt idx="140">
                  <c:v>2.4E-2</c:v>
                </c:pt>
                <c:pt idx="141">
                  <c:v>2.3E-2</c:v>
                </c:pt>
                <c:pt idx="142">
                  <c:v>2.4E-2</c:v>
                </c:pt>
                <c:pt idx="143">
                  <c:v>2.3E-2</c:v>
                </c:pt>
                <c:pt idx="144">
                  <c:v>2.3E-2</c:v>
                </c:pt>
                <c:pt idx="145">
                  <c:v>2.1999999999999999E-2</c:v>
                </c:pt>
                <c:pt idx="146">
                  <c:v>2.3E-2</c:v>
                </c:pt>
                <c:pt idx="147">
                  <c:v>2.5999999999999999E-2</c:v>
                </c:pt>
                <c:pt idx="148">
                  <c:v>2.7E-2</c:v>
                </c:pt>
                <c:pt idx="149">
                  <c:v>2.7E-2</c:v>
                </c:pt>
                <c:pt idx="150">
                  <c:v>2.5999999999999999E-2</c:v>
                </c:pt>
                <c:pt idx="151">
                  <c:v>2.5000000000000001E-2</c:v>
                </c:pt>
                <c:pt idx="152">
                  <c:v>2.4E-2</c:v>
                </c:pt>
                <c:pt idx="153">
                  <c:v>2.5000000000000001E-2</c:v>
                </c:pt>
                <c:pt idx="154">
                  <c:v>2.5000000000000001E-2</c:v>
                </c:pt>
                <c:pt idx="155">
                  <c:v>2.4E-2</c:v>
                </c:pt>
                <c:pt idx="156">
                  <c:v>2.5000000000000001E-2</c:v>
                </c:pt>
                <c:pt idx="157">
                  <c:v>2.5000000000000001E-2</c:v>
                </c:pt>
                <c:pt idx="158">
                  <c:v>2.4E-2</c:v>
                </c:pt>
                <c:pt idx="159">
                  <c:v>2.5000000000000001E-2</c:v>
                </c:pt>
                <c:pt idx="160">
                  <c:v>2.4E-2</c:v>
                </c:pt>
                <c:pt idx="161">
                  <c:v>2.5000000000000001E-2</c:v>
                </c:pt>
                <c:pt idx="162">
                  <c:v>2.5999999999999999E-2</c:v>
                </c:pt>
                <c:pt idx="163">
                  <c:v>2.5999999999999999E-2</c:v>
                </c:pt>
                <c:pt idx="164">
                  <c:v>2.7E-2</c:v>
                </c:pt>
                <c:pt idx="165">
                  <c:v>2.8000000000000001E-2</c:v>
                </c:pt>
                <c:pt idx="166">
                  <c:v>2.9000000000000001E-2</c:v>
                </c:pt>
                <c:pt idx="167">
                  <c:v>2.9000000000000001E-2</c:v>
                </c:pt>
                <c:pt idx="168">
                  <c:v>0.03</c:v>
                </c:pt>
                <c:pt idx="169">
                  <c:v>3.1E-2</c:v>
                </c:pt>
                <c:pt idx="170">
                  <c:v>0.03</c:v>
                </c:pt>
                <c:pt idx="171">
                  <c:v>0.03</c:v>
                </c:pt>
                <c:pt idx="172">
                  <c:v>3.2000000000000001E-2</c:v>
                </c:pt>
                <c:pt idx="173">
                  <c:v>3.2000000000000001E-2</c:v>
                </c:pt>
                <c:pt idx="174">
                  <c:v>3.1E-2</c:v>
                </c:pt>
                <c:pt idx="175">
                  <c:v>3.2000000000000001E-2</c:v>
                </c:pt>
                <c:pt idx="176">
                  <c:v>3.2000000000000001E-2</c:v>
                </c:pt>
                <c:pt idx="177">
                  <c:v>0.03</c:v>
                </c:pt>
                <c:pt idx="178">
                  <c:v>0.03</c:v>
                </c:pt>
                <c:pt idx="179">
                  <c:v>3.1E-2</c:v>
                </c:pt>
                <c:pt idx="180">
                  <c:v>3.1E-2</c:v>
                </c:pt>
                <c:pt idx="181">
                  <c:v>3.1E-2</c:v>
                </c:pt>
                <c:pt idx="182">
                  <c:v>2.9000000000000001E-2</c:v>
                </c:pt>
                <c:pt idx="183">
                  <c:v>2.7E-2</c:v>
                </c:pt>
                <c:pt idx="184">
                  <c:v>2.5999999999999999E-2</c:v>
                </c:pt>
                <c:pt idx="185">
                  <c:v>2.5000000000000001E-2</c:v>
                </c:pt>
                <c:pt idx="186">
                  <c:v>2.4E-2</c:v>
                </c:pt>
                <c:pt idx="187">
                  <c:v>2.5000000000000001E-2</c:v>
                </c:pt>
                <c:pt idx="188">
                  <c:v>2.5999999999999999E-2</c:v>
                </c:pt>
                <c:pt idx="189">
                  <c:v>2.7E-2</c:v>
                </c:pt>
                <c:pt idx="190">
                  <c:v>2.5000000000000001E-2</c:v>
                </c:pt>
                <c:pt idx="191">
                  <c:v>2.5999999999999999E-2</c:v>
                </c:pt>
                <c:pt idx="192">
                  <c:v>2.5999999999999999E-2</c:v>
                </c:pt>
                <c:pt idx="193">
                  <c:v>2.5999999999999999E-2</c:v>
                </c:pt>
                <c:pt idx="194">
                  <c:v>2.9000000000000001E-2</c:v>
                </c:pt>
                <c:pt idx="195">
                  <c:v>2.9000000000000001E-2</c:v>
                </c:pt>
                <c:pt idx="196">
                  <c:v>0.03</c:v>
                </c:pt>
                <c:pt idx="197">
                  <c:v>3.1E-2</c:v>
                </c:pt>
                <c:pt idx="198">
                  <c:v>3.1E-2</c:v>
                </c:pt>
                <c:pt idx="199">
                  <c:v>0.03</c:v>
                </c:pt>
                <c:pt idx="200">
                  <c:v>0.03</c:v>
                </c:pt>
                <c:pt idx="201">
                  <c:v>2.9000000000000001E-2</c:v>
                </c:pt>
                <c:pt idx="202">
                  <c:v>2.9000000000000001E-2</c:v>
                </c:pt>
                <c:pt idx="203">
                  <c:v>2.9000000000000001E-2</c:v>
                </c:pt>
                <c:pt idx="204">
                  <c:v>2.8000000000000001E-2</c:v>
                </c:pt>
                <c:pt idx="205">
                  <c:v>2.7E-2</c:v>
                </c:pt>
                <c:pt idx="206">
                  <c:v>2.7E-2</c:v>
                </c:pt>
                <c:pt idx="207">
                  <c:v>2.8000000000000001E-2</c:v>
                </c:pt>
                <c:pt idx="208">
                  <c:v>2.7E-2</c:v>
                </c:pt>
                <c:pt idx="209">
                  <c:v>2.8000000000000001E-2</c:v>
                </c:pt>
                <c:pt idx="210">
                  <c:v>2.8000000000000001E-2</c:v>
                </c:pt>
                <c:pt idx="211">
                  <c:v>2.9000000000000001E-2</c:v>
                </c:pt>
                <c:pt idx="212">
                  <c:v>2.9000000000000001E-2</c:v>
                </c:pt>
                <c:pt idx="213">
                  <c:v>0.03</c:v>
                </c:pt>
                <c:pt idx="214">
                  <c:v>0.03</c:v>
                </c:pt>
                <c:pt idx="215">
                  <c:v>0.03</c:v>
                </c:pt>
                <c:pt idx="216">
                  <c:v>3.1E-2</c:v>
                </c:pt>
                <c:pt idx="217">
                  <c:v>3.1E-2</c:v>
                </c:pt>
                <c:pt idx="218">
                  <c:v>2.8000000000000001E-2</c:v>
                </c:pt>
                <c:pt idx="219">
                  <c:v>2.1999999999999999E-2</c:v>
                </c:pt>
                <c:pt idx="220">
                  <c:v>0.02</c:v>
                </c:pt>
                <c:pt idx="221">
                  <c:v>1.9E-2</c:v>
                </c:pt>
                <c:pt idx="222">
                  <c:v>2.3E-2</c:v>
                </c:pt>
                <c:pt idx="223">
                  <c:v>2.1999999999999999E-2</c:v>
                </c:pt>
                <c:pt idx="224">
                  <c:v>1.9E-2</c:v>
                </c:pt>
                <c:pt idx="225">
                  <c:v>1.7000000000000001E-2</c:v>
                </c:pt>
                <c:pt idx="226">
                  <c:v>1.7000000000000001E-2</c:v>
                </c:pt>
                <c:pt idx="227">
                  <c:v>1.6E-2</c:v>
                </c:pt>
                <c:pt idx="228">
                  <c:v>1.2999999999999999E-2</c:v>
                </c:pt>
                <c:pt idx="229">
                  <c:v>1.2999999999999999E-2</c:v>
                </c:pt>
                <c:pt idx="230">
                  <c:v>1.6E-2</c:v>
                </c:pt>
                <c:pt idx="231">
                  <c:v>2.5000000000000001E-2</c:v>
                </c:pt>
                <c:pt idx="232">
                  <c:v>2.9000000000000001E-2</c:v>
                </c:pt>
                <c:pt idx="233">
                  <c:v>3.1E-2</c:v>
                </c:pt>
                <c:pt idx="234">
                  <c:v>2.9000000000000001E-2</c:v>
                </c:pt>
                <c:pt idx="235">
                  <c:v>2.7E-2</c:v>
                </c:pt>
                <c:pt idx="236">
                  <c:v>2.9000000000000001E-2</c:v>
                </c:pt>
                <c:pt idx="237">
                  <c:v>3.2000000000000001E-2</c:v>
                </c:pt>
                <c:pt idx="238">
                  <c:v>3.4000000000000002E-2</c:v>
                </c:pt>
                <c:pt idx="239">
                  <c:v>3.6999999999999998E-2</c:v>
                </c:pt>
                <c:pt idx="240">
                  <c:v>4.1000000000000002E-2</c:v>
                </c:pt>
                <c:pt idx="241">
                  <c:v>4.3999999999999997E-2</c:v>
                </c:pt>
                <c:pt idx="242">
                  <c:v>4.7E-2</c:v>
                </c:pt>
                <c:pt idx="243">
                  <c:v>4.9000000000000002E-2</c:v>
                </c:pt>
                <c:pt idx="244">
                  <c:v>5.1999999999999998E-2</c:v>
                </c:pt>
                <c:pt idx="245">
                  <c:v>5.5E-2</c:v>
                </c:pt>
                <c:pt idx="246">
                  <c:v>5.5E-2</c:v>
                </c:pt>
                <c:pt idx="247">
                  <c:v>6.0999999999999999E-2</c:v>
                </c:pt>
                <c:pt idx="248">
                  <c:v>6.7000000000000004E-2</c:v>
                </c:pt>
                <c:pt idx="249">
                  <c:v>6.7000000000000004E-2</c:v>
                </c:pt>
                <c:pt idx="250">
                  <c:v>6.8000000000000005E-2</c:v>
                </c:pt>
                <c:pt idx="251">
                  <c:v>7.0000000000000007E-2</c:v>
                </c:pt>
                <c:pt idx="252">
                  <c:v>7.1999999999999995E-2</c:v>
                </c:pt>
                <c:pt idx="253">
                  <c:v>7.2999999999999995E-2</c:v>
                </c:pt>
                <c:pt idx="254">
                  <c:v>7.0999999999999994E-2</c:v>
                </c:pt>
                <c:pt idx="255">
                  <c:v>6.8000000000000005E-2</c:v>
                </c:pt>
                <c:pt idx="256">
                  <c:v>6.6000000000000003E-2</c:v>
                </c:pt>
                <c:pt idx="257">
                  <c:v>6.2E-2</c:v>
                </c:pt>
                <c:pt idx="258">
                  <c:v>6.0999999999999999E-2</c:v>
                </c:pt>
                <c:pt idx="259">
                  <c:v>5.8999999999999997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DA3-4645-8329-4F115077874B}"/>
            </c:ext>
          </c:extLst>
        </c:ser>
        <c:ser>
          <c:idx val="2"/>
          <c:order val="1"/>
          <c:tx>
            <c:strRef>
              <c:f>'CPI-12-Commodities&amp;Services'!$B$2</c:f>
              <c:strCache>
                <c:ptCount val="1"/>
                <c:pt idx="0">
                  <c:v> Commodities, less food &amp; energy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1DA3-4645-8329-4F115077874B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1DA3-4645-8329-4F115077874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1DA3-4645-8329-4F115077874B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4-1DA3-4645-8329-4F115077874B}"/>
              </c:ext>
            </c:extLst>
          </c:dPt>
          <c:cat>
            <c:numRef>
              <c:f>'CPI-12-Commodities&amp;Services'!$A$15:$A$275</c:f>
              <c:numCache>
                <c:formatCode>General</c:formatCode>
                <c:ptCount val="261"/>
                <c:pt idx="0">
                  <c:v>2002</c:v>
                </c:pt>
                <c:pt idx="12">
                  <c:v>2003</c:v>
                </c:pt>
                <c:pt idx="24">
                  <c:v>2004</c:v>
                </c:pt>
                <c:pt idx="36">
                  <c:v>2005</c:v>
                </c:pt>
                <c:pt idx="48">
                  <c:v>2006</c:v>
                </c:pt>
                <c:pt idx="60">
                  <c:v>2007</c:v>
                </c:pt>
                <c:pt idx="72">
                  <c:v>2008</c:v>
                </c:pt>
                <c:pt idx="84">
                  <c:v>2009</c:v>
                </c:pt>
                <c:pt idx="96">
                  <c:v>2010</c:v>
                </c:pt>
                <c:pt idx="108">
                  <c:v>2011</c:v>
                </c:pt>
                <c:pt idx="120">
                  <c:v>2012</c:v>
                </c:pt>
                <c:pt idx="132">
                  <c:v>2013</c:v>
                </c:pt>
                <c:pt idx="144">
                  <c:v>2014</c:v>
                </c:pt>
                <c:pt idx="156">
                  <c:v>2015</c:v>
                </c:pt>
                <c:pt idx="168">
                  <c:v>2016</c:v>
                </c:pt>
                <c:pt idx="180">
                  <c:v>2017</c:v>
                </c:pt>
                <c:pt idx="192">
                  <c:v>2018</c:v>
                </c:pt>
                <c:pt idx="204">
                  <c:v>2019</c:v>
                </c:pt>
                <c:pt idx="216">
                  <c:v>2020</c:v>
                </c:pt>
                <c:pt idx="228">
                  <c:v>2021</c:v>
                </c:pt>
                <c:pt idx="229" formatCode="d\-mmm">
                  <c:v>42786</c:v>
                </c:pt>
                <c:pt idx="230" formatCode="d\-mmm">
                  <c:v>42814</c:v>
                </c:pt>
                <c:pt idx="231" formatCode="d\-mmm">
                  <c:v>42845</c:v>
                </c:pt>
                <c:pt idx="232" formatCode="d\-mmm">
                  <c:v>42875</c:v>
                </c:pt>
                <c:pt idx="233" formatCode="d\-mmm">
                  <c:v>42906</c:v>
                </c:pt>
                <c:pt idx="234" formatCode="d\-mmm">
                  <c:v>42936</c:v>
                </c:pt>
                <c:pt idx="235" formatCode="d\-mmm">
                  <c:v>42967</c:v>
                </c:pt>
                <c:pt idx="236" formatCode="d\-mmm">
                  <c:v>42998</c:v>
                </c:pt>
                <c:pt idx="237" formatCode="d\-mmm">
                  <c:v>43028</c:v>
                </c:pt>
                <c:pt idx="238" formatCode="d\-mmm">
                  <c:v>43059</c:v>
                </c:pt>
                <c:pt idx="239" formatCode="d\-mmm">
                  <c:v>43089</c:v>
                </c:pt>
                <c:pt idx="240">
                  <c:v>2022</c:v>
                </c:pt>
                <c:pt idx="241" formatCode="d\-mmm">
                  <c:v>43152</c:v>
                </c:pt>
                <c:pt idx="242" formatCode="d\-mmm">
                  <c:v>43180</c:v>
                </c:pt>
                <c:pt idx="243" formatCode="d\-mmm">
                  <c:v>43211</c:v>
                </c:pt>
                <c:pt idx="244" formatCode="d\-mmm">
                  <c:v>43241</c:v>
                </c:pt>
                <c:pt idx="245" formatCode="d\-mmm">
                  <c:v>43272</c:v>
                </c:pt>
                <c:pt idx="246" formatCode="d\-mmm">
                  <c:v>43302</c:v>
                </c:pt>
                <c:pt idx="247" formatCode="d\-mmm">
                  <c:v>43333</c:v>
                </c:pt>
                <c:pt idx="248" formatCode="d\-mmm">
                  <c:v>43364</c:v>
                </c:pt>
                <c:pt idx="249" formatCode="d\-mmm">
                  <c:v>43394</c:v>
                </c:pt>
                <c:pt idx="250" formatCode="d\-mmm">
                  <c:v>43790</c:v>
                </c:pt>
                <c:pt idx="251" formatCode="d\-mmm">
                  <c:v>43820</c:v>
                </c:pt>
                <c:pt idx="252">
                  <c:v>2023</c:v>
                </c:pt>
                <c:pt idx="253" formatCode="d\-mmm">
                  <c:v>43518</c:v>
                </c:pt>
                <c:pt idx="254" formatCode="d\-mmm">
                  <c:v>43546</c:v>
                </c:pt>
                <c:pt idx="255" formatCode="d\-mmm">
                  <c:v>43577</c:v>
                </c:pt>
                <c:pt idx="256" formatCode="d\-mmm">
                  <c:v>43607</c:v>
                </c:pt>
                <c:pt idx="257" formatCode="d\-mmm">
                  <c:v>43638</c:v>
                </c:pt>
                <c:pt idx="258" formatCode="d\-mmm">
                  <c:v>43668</c:v>
                </c:pt>
                <c:pt idx="259" formatCode="d\-mmm">
                  <c:v>43699</c:v>
                </c:pt>
              </c:numCache>
            </c:numRef>
          </c:cat>
          <c:val>
            <c:numRef>
              <c:f>'CPI-12-Commodities&amp;Services'!$B$15:$B$275</c:f>
              <c:numCache>
                <c:formatCode>0.0%</c:formatCode>
                <c:ptCount val="261"/>
                <c:pt idx="0">
                  <c:v>-8.0000000000000002E-3</c:v>
                </c:pt>
                <c:pt idx="1">
                  <c:v>-8.9999999999999993E-3</c:v>
                </c:pt>
                <c:pt idx="2">
                  <c:v>-1.0999999999999999E-2</c:v>
                </c:pt>
                <c:pt idx="3">
                  <c:v>-0.01</c:v>
                </c:pt>
                <c:pt idx="4">
                  <c:v>-8.9999999999999993E-3</c:v>
                </c:pt>
                <c:pt idx="5">
                  <c:v>-0.01</c:v>
                </c:pt>
                <c:pt idx="6">
                  <c:v>-1.2999999999999999E-2</c:v>
                </c:pt>
                <c:pt idx="7">
                  <c:v>-7.0000000000000001E-3</c:v>
                </c:pt>
                <c:pt idx="8">
                  <c:v>-1.0999999999999999E-2</c:v>
                </c:pt>
                <c:pt idx="9">
                  <c:v>-1.2E-2</c:v>
                </c:pt>
                <c:pt idx="10">
                  <c:v>-1.6E-2</c:v>
                </c:pt>
                <c:pt idx="11">
                  <c:v>-1.4999999999999999E-2</c:v>
                </c:pt>
                <c:pt idx="12">
                  <c:v>-1.4E-2</c:v>
                </c:pt>
                <c:pt idx="13">
                  <c:v>-1.4999999999999999E-2</c:v>
                </c:pt>
                <c:pt idx="14">
                  <c:v>-1.4E-2</c:v>
                </c:pt>
                <c:pt idx="15">
                  <c:v>-1.7999999999999999E-2</c:v>
                </c:pt>
                <c:pt idx="16">
                  <c:v>-1.9E-2</c:v>
                </c:pt>
                <c:pt idx="17">
                  <c:v>-1.7999999999999999E-2</c:v>
                </c:pt>
                <c:pt idx="18">
                  <c:v>-1.7999999999999999E-2</c:v>
                </c:pt>
                <c:pt idx="19">
                  <c:v>-2.1999999999999999E-2</c:v>
                </c:pt>
                <c:pt idx="20">
                  <c:v>-2.4E-2</c:v>
                </c:pt>
                <c:pt idx="21">
                  <c:v>-2.4E-2</c:v>
                </c:pt>
                <c:pt idx="22">
                  <c:v>-2.5999999999999999E-2</c:v>
                </c:pt>
                <c:pt idx="23">
                  <c:v>-2.5000000000000001E-2</c:v>
                </c:pt>
                <c:pt idx="24">
                  <c:v>-2.3E-2</c:v>
                </c:pt>
                <c:pt idx="25">
                  <c:v>-0.02</c:v>
                </c:pt>
                <c:pt idx="26">
                  <c:v>-1.6E-2</c:v>
                </c:pt>
                <c:pt idx="27">
                  <c:v>-1.4E-2</c:v>
                </c:pt>
                <c:pt idx="28">
                  <c:v>-1.0999999999999999E-2</c:v>
                </c:pt>
                <c:pt idx="29">
                  <c:v>-0.01</c:v>
                </c:pt>
                <c:pt idx="30">
                  <c:v>-1.2E-2</c:v>
                </c:pt>
                <c:pt idx="31">
                  <c:v>-1.0999999999999999E-2</c:v>
                </c:pt>
                <c:pt idx="32">
                  <c:v>-6.0000000000000001E-3</c:v>
                </c:pt>
                <c:pt idx="33">
                  <c:v>1E-3</c:v>
                </c:pt>
                <c:pt idx="34">
                  <c:v>5.0000000000000001E-3</c:v>
                </c:pt>
                <c:pt idx="35">
                  <c:v>6.0000000000000001E-3</c:v>
                </c:pt>
                <c:pt idx="36">
                  <c:v>8.9999999999999993E-3</c:v>
                </c:pt>
                <c:pt idx="37">
                  <c:v>7.0000000000000001E-3</c:v>
                </c:pt>
                <c:pt idx="38">
                  <c:v>6.0000000000000001E-3</c:v>
                </c:pt>
                <c:pt idx="39">
                  <c:v>5.0000000000000001E-3</c:v>
                </c:pt>
                <c:pt idx="40">
                  <c:v>6.0000000000000001E-3</c:v>
                </c:pt>
                <c:pt idx="41">
                  <c:v>4.0000000000000001E-3</c:v>
                </c:pt>
                <c:pt idx="42">
                  <c:v>5.0000000000000001E-3</c:v>
                </c:pt>
                <c:pt idx="43">
                  <c:v>7.0000000000000001E-3</c:v>
                </c:pt>
                <c:pt idx="44">
                  <c:v>6.0000000000000001E-3</c:v>
                </c:pt>
                <c:pt idx="45">
                  <c:v>4.0000000000000001E-3</c:v>
                </c:pt>
                <c:pt idx="46">
                  <c:v>1E-3</c:v>
                </c:pt>
                <c:pt idx="47">
                  <c:v>2E-3</c:v>
                </c:pt>
                <c:pt idx="48">
                  <c:v>1E-3</c:v>
                </c:pt>
                <c:pt idx="49">
                  <c:v>0</c:v>
                </c:pt>
                <c:pt idx="50">
                  <c:v>3.0000000000000001E-3</c:v>
                </c:pt>
                <c:pt idx="51">
                  <c:v>4.0000000000000001E-3</c:v>
                </c:pt>
                <c:pt idx="52">
                  <c:v>3.0000000000000001E-3</c:v>
                </c:pt>
                <c:pt idx="53">
                  <c:v>5.0000000000000001E-3</c:v>
                </c:pt>
                <c:pt idx="54">
                  <c:v>5.0000000000000001E-3</c:v>
                </c:pt>
                <c:pt idx="55">
                  <c:v>6.0000000000000001E-3</c:v>
                </c:pt>
                <c:pt idx="56">
                  <c:v>5.0000000000000001E-3</c:v>
                </c:pt>
                <c:pt idx="57">
                  <c:v>1E-3</c:v>
                </c:pt>
                <c:pt idx="58">
                  <c:v>-1E-3</c:v>
                </c:pt>
                <c:pt idx="59">
                  <c:v>-1E-3</c:v>
                </c:pt>
                <c:pt idx="60">
                  <c:v>-2E-3</c:v>
                </c:pt>
                <c:pt idx="61">
                  <c:v>0</c:v>
                </c:pt>
                <c:pt idx="62">
                  <c:v>-3.0000000000000001E-3</c:v>
                </c:pt>
                <c:pt idx="63">
                  <c:v>-5.0000000000000001E-3</c:v>
                </c:pt>
                <c:pt idx="64">
                  <c:v>-7.0000000000000001E-3</c:v>
                </c:pt>
                <c:pt idx="65">
                  <c:v>-8.0000000000000002E-3</c:v>
                </c:pt>
                <c:pt idx="66">
                  <c:v>-6.0000000000000001E-3</c:v>
                </c:pt>
                <c:pt idx="67">
                  <c:v>-7.0000000000000001E-3</c:v>
                </c:pt>
                <c:pt idx="68">
                  <c:v>-8.0000000000000002E-3</c:v>
                </c:pt>
                <c:pt idx="69">
                  <c:v>-5.0000000000000001E-3</c:v>
                </c:pt>
                <c:pt idx="70">
                  <c:v>0</c:v>
                </c:pt>
                <c:pt idx="71">
                  <c:v>1E-3</c:v>
                </c:pt>
                <c:pt idx="72">
                  <c:v>2E-3</c:v>
                </c:pt>
                <c:pt idx="73">
                  <c:v>0</c:v>
                </c:pt>
                <c:pt idx="74">
                  <c:v>0</c:v>
                </c:pt>
                <c:pt idx="75">
                  <c:v>1E-3</c:v>
                </c:pt>
                <c:pt idx="76">
                  <c:v>1E-3</c:v>
                </c:pt>
                <c:pt idx="77">
                  <c:v>2E-3</c:v>
                </c:pt>
                <c:pt idx="78">
                  <c:v>6.0000000000000001E-3</c:v>
                </c:pt>
                <c:pt idx="79">
                  <c:v>6.0000000000000001E-3</c:v>
                </c:pt>
                <c:pt idx="80">
                  <c:v>5.0000000000000001E-3</c:v>
                </c:pt>
                <c:pt idx="81">
                  <c:v>1E-3</c:v>
                </c:pt>
                <c:pt idx="82">
                  <c:v>-2E-3</c:v>
                </c:pt>
                <c:pt idx="83">
                  <c:v>-6.0000000000000001E-3</c:v>
                </c:pt>
                <c:pt idx="84">
                  <c:v>-5.0000000000000001E-3</c:v>
                </c:pt>
                <c:pt idx="85">
                  <c:v>0</c:v>
                </c:pt>
                <c:pt idx="86">
                  <c:v>4.0000000000000001E-3</c:v>
                </c:pt>
                <c:pt idx="87">
                  <c:v>8.9999999999999993E-3</c:v>
                </c:pt>
                <c:pt idx="88">
                  <c:v>1.2E-2</c:v>
                </c:pt>
                <c:pt idx="89">
                  <c:v>1.4999999999999999E-2</c:v>
                </c:pt>
                <c:pt idx="90">
                  <c:v>1.4E-2</c:v>
                </c:pt>
                <c:pt idx="91">
                  <c:v>1.0999999999999999E-2</c:v>
                </c:pt>
                <c:pt idx="92">
                  <c:v>1.6E-2</c:v>
                </c:pt>
                <c:pt idx="93">
                  <c:v>2.3E-2</c:v>
                </c:pt>
                <c:pt idx="94">
                  <c:v>2.5999999999999999E-2</c:v>
                </c:pt>
                <c:pt idx="95">
                  <c:v>0.03</c:v>
                </c:pt>
                <c:pt idx="96">
                  <c:v>2.9000000000000001E-2</c:v>
                </c:pt>
                <c:pt idx="97">
                  <c:v>2.5000000000000001E-2</c:v>
                </c:pt>
                <c:pt idx="98">
                  <c:v>1.9E-2</c:v>
                </c:pt>
                <c:pt idx="99">
                  <c:v>1.2E-2</c:v>
                </c:pt>
                <c:pt idx="100">
                  <c:v>1.0999999999999999E-2</c:v>
                </c:pt>
                <c:pt idx="101">
                  <c:v>0.01</c:v>
                </c:pt>
                <c:pt idx="102">
                  <c:v>0.01</c:v>
                </c:pt>
                <c:pt idx="103">
                  <c:v>1.2999999999999999E-2</c:v>
                </c:pt>
                <c:pt idx="104">
                  <c:v>8.0000000000000002E-3</c:v>
                </c:pt>
                <c:pt idx="105">
                  <c:v>1E-3</c:v>
                </c:pt>
                <c:pt idx="106">
                  <c:v>-2E-3</c:v>
                </c:pt>
                <c:pt idx="107">
                  <c:v>-4.0000000000000001E-3</c:v>
                </c:pt>
                <c:pt idx="108">
                  <c:v>-2E-3</c:v>
                </c:pt>
                <c:pt idx="109">
                  <c:v>0</c:v>
                </c:pt>
                <c:pt idx="110">
                  <c:v>2E-3</c:v>
                </c:pt>
                <c:pt idx="111">
                  <c:v>7.0000000000000001E-3</c:v>
                </c:pt>
                <c:pt idx="112">
                  <c:v>1.2E-2</c:v>
                </c:pt>
                <c:pt idx="113">
                  <c:v>1.6E-2</c:v>
                </c:pt>
                <c:pt idx="114">
                  <c:v>1.7999999999999999E-2</c:v>
                </c:pt>
                <c:pt idx="115">
                  <c:v>2.1000000000000001E-2</c:v>
                </c:pt>
                <c:pt idx="116">
                  <c:v>0.02</c:v>
                </c:pt>
                <c:pt idx="117">
                  <c:v>2.1000000000000001E-2</c:v>
                </c:pt>
                <c:pt idx="118">
                  <c:v>2.1999999999999999E-2</c:v>
                </c:pt>
                <c:pt idx="119">
                  <c:v>2.1999999999999999E-2</c:v>
                </c:pt>
                <c:pt idx="120">
                  <c:v>2.1999999999999999E-2</c:v>
                </c:pt>
                <c:pt idx="121">
                  <c:v>0.02</c:v>
                </c:pt>
                <c:pt idx="122">
                  <c:v>2.1000000000000001E-2</c:v>
                </c:pt>
                <c:pt idx="123">
                  <c:v>0.02</c:v>
                </c:pt>
                <c:pt idx="124">
                  <c:v>1.6E-2</c:v>
                </c:pt>
                <c:pt idx="125">
                  <c:v>1.4E-2</c:v>
                </c:pt>
                <c:pt idx="126">
                  <c:v>1.0999999999999999E-2</c:v>
                </c:pt>
                <c:pt idx="127">
                  <c:v>7.0000000000000001E-3</c:v>
                </c:pt>
                <c:pt idx="128">
                  <c:v>7.0000000000000001E-3</c:v>
                </c:pt>
                <c:pt idx="129">
                  <c:v>7.0000000000000001E-3</c:v>
                </c:pt>
                <c:pt idx="130">
                  <c:v>5.0000000000000001E-3</c:v>
                </c:pt>
                <c:pt idx="131">
                  <c:v>3.0000000000000001E-3</c:v>
                </c:pt>
                <c:pt idx="132">
                  <c:v>4.0000000000000001E-3</c:v>
                </c:pt>
                <c:pt idx="133">
                  <c:v>3.0000000000000001E-3</c:v>
                </c:pt>
                <c:pt idx="134">
                  <c:v>0</c:v>
                </c:pt>
                <c:pt idx="135">
                  <c:v>-1E-3</c:v>
                </c:pt>
                <c:pt idx="136">
                  <c:v>-2E-3</c:v>
                </c:pt>
                <c:pt idx="137">
                  <c:v>-2E-3</c:v>
                </c:pt>
                <c:pt idx="138">
                  <c:v>-2E-3</c:v>
                </c:pt>
                <c:pt idx="139">
                  <c:v>0</c:v>
                </c:pt>
                <c:pt idx="140">
                  <c:v>-1E-3</c:v>
                </c:pt>
                <c:pt idx="141">
                  <c:v>-1E-3</c:v>
                </c:pt>
                <c:pt idx="142">
                  <c:v>-2E-3</c:v>
                </c:pt>
                <c:pt idx="143">
                  <c:v>-1E-3</c:v>
                </c:pt>
                <c:pt idx="144">
                  <c:v>-3.0000000000000001E-3</c:v>
                </c:pt>
                <c:pt idx="145">
                  <c:v>-4.0000000000000001E-3</c:v>
                </c:pt>
                <c:pt idx="146">
                  <c:v>-3.0000000000000001E-3</c:v>
                </c:pt>
                <c:pt idx="147">
                  <c:v>-3.0000000000000001E-3</c:v>
                </c:pt>
                <c:pt idx="148">
                  <c:v>-2E-3</c:v>
                </c:pt>
                <c:pt idx="149">
                  <c:v>-2E-3</c:v>
                </c:pt>
                <c:pt idx="150">
                  <c:v>-3.0000000000000001E-3</c:v>
                </c:pt>
                <c:pt idx="151">
                  <c:v>-4.0000000000000001E-3</c:v>
                </c:pt>
                <c:pt idx="152">
                  <c:v>-3.0000000000000001E-3</c:v>
                </c:pt>
                <c:pt idx="153">
                  <c:v>-2E-3</c:v>
                </c:pt>
                <c:pt idx="154">
                  <c:v>-5.0000000000000001E-3</c:v>
                </c:pt>
                <c:pt idx="155">
                  <c:v>-8.0000000000000002E-3</c:v>
                </c:pt>
                <c:pt idx="156">
                  <c:v>-8.0000000000000002E-3</c:v>
                </c:pt>
                <c:pt idx="157">
                  <c:v>-5.0000000000000001E-3</c:v>
                </c:pt>
                <c:pt idx="158">
                  <c:v>-2E-3</c:v>
                </c:pt>
                <c:pt idx="159">
                  <c:v>-2E-3</c:v>
                </c:pt>
                <c:pt idx="160">
                  <c:v>-3.0000000000000001E-3</c:v>
                </c:pt>
                <c:pt idx="161">
                  <c:v>-4.0000000000000001E-3</c:v>
                </c:pt>
                <c:pt idx="162">
                  <c:v>-5.0000000000000001E-3</c:v>
                </c:pt>
                <c:pt idx="163">
                  <c:v>-5.0000000000000001E-3</c:v>
                </c:pt>
                <c:pt idx="164">
                  <c:v>-5.0000000000000001E-3</c:v>
                </c:pt>
                <c:pt idx="165">
                  <c:v>-7.0000000000000001E-3</c:v>
                </c:pt>
                <c:pt idx="166">
                  <c:v>-6.0000000000000001E-3</c:v>
                </c:pt>
                <c:pt idx="167">
                  <c:v>-4.0000000000000001E-3</c:v>
                </c:pt>
                <c:pt idx="168">
                  <c:v>-1E-3</c:v>
                </c:pt>
                <c:pt idx="169">
                  <c:v>1E-3</c:v>
                </c:pt>
                <c:pt idx="170">
                  <c:v>-4.0000000000000001E-3</c:v>
                </c:pt>
                <c:pt idx="171">
                  <c:v>-5.0000000000000001E-3</c:v>
                </c:pt>
                <c:pt idx="172">
                  <c:v>-5.0000000000000001E-3</c:v>
                </c:pt>
                <c:pt idx="173">
                  <c:v>-6.0000000000000001E-3</c:v>
                </c:pt>
                <c:pt idx="174">
                  <c:v>-6.0000000000000001E-3</c:v>
                </c:pt>
                <c:pt idx="175">
                  <c:v>-5.0000000000000001E-3</c:v>
                </c:pt>
                <c:pt idx="176">
                  <c:v>-6.0000000000000001E-3</c:v>
                </c:pt>
                <c:pt idx="177">
                  <c:v>-5.0000000000000001E-3</c:v>
                </c:pt>
                <c:pt idx="178">
                  <c:v>-7.0000000000000001E-3</c:v>
                </c:pt>
                <c:pt idx="179">
                  <c:v>-6.0000000000000001E-3</c:v>
                </c:pt>
                <c:pt idx="180">
                  <c:v>-2E-3</c:v>
                </c:pt>
                <c:pt idx="181">
                  <c:v>-5.0000000000000001E-3</c:v>
                </c:pt>
                <c:pt idx="182">
                  <c:v>-6.0000000000000001E-3</c:v>
                </c:pt>
                <c:pt idx="183">
                  <c:v>-6.0000000000000001E-3</c:v>
                </c:pt>
                <c:pt idx="184">
                  <c:v>-8.0000000000000002E-3</c:v>
                </c:pt>
                <c:pt idx="185">
                  <c:v>-6.0000000000000001E-3</c:v>
                </c:pt>
                <c:pt idx="186">
                  <c:v>-6.0000000000000001E-3</c:v>
                </c:pt>
                <c:pt idx="187">
                  <c:v>-8.9999999999999993E-3</c:v>
                </c:pt>
                <c:pt idx="188">
                  <c:v>-0.01</c:v>
                </c:pt>
                <c:pt idx="189">
                  <c:v>-0.01</c:v>
                </c:pt>
                <c:pt idx="190">
                  <c:v>-8.9999999999999993E-3</c:v>
                </c:pt>
                <c:pt idx="191">
                  <c:v>-7.0000000000000001E-3</c:v>
                </c:pt>
                <c:pt idx="192">
                  <c:v>-7.0000000000000001E-3</c:v>
                </c:pt>
                <c:pt idx="193">
                  <c:v>-5.0000000000000001E-3</c:v>
                </c:pt>
                <c:pt idx="194">
                  <c:v>-3.0000000000000001E-3</c:v>
                </c:pt>
                <c:pt idx="195">
                  <c:v>-4.0000000000000001E-3</c:v>
                </c:pt>
                <c:pt idx="196">
                  <c:v>-3.0000000000000001E-3</c:v>
                </c:pt>
                <c:pt idx="197">
                  <c:v>-2E-3</c:v>
                </c:pt>
                <c:pt idx="198">
                  <c:v>0</c:v>
                </c:pt>
                <c:pt idx="199">
                  <c:v>-2E-3</c:v>
                </c:pt>
                <c:pt idx="200">
                  <c:v>-3.0000000000000001E-3</c:v>
                </c:pt>
                <c:pt idx="201">
                  <c:v>-1E-3</c:v>
                </c:pt>
                <c:pt idx="202">
                  <c:v>2E-3</c:v>
                </c:pt>
                <c:pt idx="203">
                  <c:v>1E-3</c:v>
                </c:pt>
                <c:pt idx="204">
                  <c:v>3.0000000000000001E-3</c:v>
                </c:pt>
                <c:pt idx="205">
                  <c:v>1E-3</c:v>
                </c:pt>
                <c:pt idx="206">
                  <c:v>0</c:v>
                </c:pt>
                <c:pt idx="207">
                  <c:v>-2E-3</c:v>
                </c:pt>
                <c:pt idx="208">
                  <c:v>-2E-3</c:v>
                </c:pt>
                <c:pt idx="209">
                  <c:v>2E-3</c:v>
                </c:pt>
                <c:pt idx="210">
                  <c:v>4.0000000000000001E-3</c:v>
                </c:pt>
                <c:pt idx="211">
                  <c:v>8.0000000000000002E-3</c:v>
                </c:pt>
                <c:pt idx="212">
                  <c:v>7.0000000000000001E-3</c:v>
                </c:pt>
                <c:pt idx="213">
                  <c:v>3.0000000000000001E-3</c:v>
                </c:pt>
                <c:pt idx="214">
                  <c:v>1E-3</c:v>
                </c:pt>
                <c:pt idx="215">
                  <c:v>1E-3</c:v>
                </c:pt>
                <c:pt idx="216">
                  <c:v>-3.0000000000000001E-3</c:v>
                </c:pt>
                <c:pt idx="217">
                  <c:v>0</c:v>
                </c:pt>
                <c:pt idx="218">
                  <c:v>-2E-3</c:v>
                </c:pt>
                <c:pt idx="219">
                  <c:v>-8.9999999999999993E-3</c:v>
                </c:pt>
                <c:pt idx="220">
                  <c:v>-0.01</c:v>
                </c:pt>
                <c:pt idx="221">
                  <c:v>-1.0999999999999999E-2</c:v>
                </c:pt>
                <c:pt idx="222">
                  <c:v>-5.0000000000000001E-3</c:v>
                </c:pt>
                <c:pt idx="223">
                  <c:v>4.0000000000000001E-3</c:v>
                </c:pt>
                <c:pt idx="224">
                  <c:v>0.01</c:v>
                </c:pt>
                <c:pt idx="225">
                  <c:v>1.2E-2</c:v>
                </c:pt>
                <c:pt idx="226">
                  <c:v>1.4E-2</c:v>
                </c:pt>
                <c:pt idx="227">
                  <c:v>1.7000000000000001E-2</c:v>
                </c:pt>
                <c:pt idx="228">
                  <c:v>1.7000000000000001E-2</c:v>
                </c:pt>
                <c:pt idx="229">
                  <c:v>1.2999999999999999E-2</c:v>
                </c:pt>
                <c:pt idx="230">
                  <c:v>1.7000000000000001E-2</c:v>
                </c:pt>
                <c:pt idx="231">
                  <c:v>4.3999999999999997E-2</c:v>
                </c:pt>
                <c:pt idx="232">
                  <c:v>6.5000000000000002E-2</c:v>
                </c:pt>
                <c:pt idx="233">
                  <c:v>8.6999999999999994E-2</c:v>
                </c:pt>
                <c:pt idx="234">
                  <c:v>8.5000000000000006E-2</c:v>
                </c:pt>
                <c:pt idx="235">
                  <c:v>7.6999999999999999E-2</c:v>
                </c:pt>
                <c:pt idx="236">
                  <c:v>7.2999999999999995E-2</c:v>
                </c:pt>
                <c:pt idx="237">
                  <c:v>8.4000000000000005E-2</c:v>
                </c:pt>
                <c:pt idx="238">
                  <c:v>9.4E-2</c:v>
                </c:pt>
                <c:pt idx="239">
                  <c:v>0.107</c:v>
                </c:pt>
                <c:pt idx="240">
                  <c:v>0.11700000000000001</c:v>
                </c:pt>
                <c:pt idx="241">
                  <c:v>0.123</c:v>
                </c:pt>
                <c:pt idx="242">
                  <c:v>0.11700000000000001</c:v>
                </c:pt>
                <c:pt idx="243">
                  <c:v>9.7000000000000003E-2</c:v>
                </c:pt>
                <c:pt idx="244">
                  <c:v>8.5000000000000006E-2</c:v>
                </c:pt>
                <c:pt idx="245">
                  <c:v>7.1999999999999995E-2</c:v>
                </c:pt>
                <c:pt idx="246">
                  <c:v>7.0000000000000007E-2</c:v>
                </c:pt>
                <c:pt idx="247">
                  <c:v>7.0999999999999994E-2</c:v>
                </c:pt>
                <c:pt idx="248">
                  <c:v>6.6000000000000003E-2</c:v>
                </c:pt>
                <c:pt idx="249">
                  <c:v>5.0999999999999997E-2</c:v>
                </c:pt>
                <c:pt idx="250">
                  <c:v>3.6999999999999998E-2</c:v>
                </c:pt>
                <c:pt idx="251">
                  <c:v>2.1000000000000001E-2</c:v>
                </c:pt>
                <c:pt idx="252">
                  <c:v>1.4E-2</c:v>
                </c:pt>
                <c:pt idx="253">
                  <c:v>0.01</c:v>
                </c:pt>
                <c:pt idx="254">
                  <c:v>1.4999999999999999E-2</c:v>
                </c:pt>
                <c:pt idx="255">
                  <c:v>0.02</c:v>
                </c:pt>
                <c:pt idx="256">
                  <c:v>0.02</c:v>
                </c:pt>
                <c:pt idx="257">
                  <c:v>1.2999999999999999E-2</c:v>
                </c:pt>
                <c:pt idx="258">
                  <c:v>8.0000000000000002E-3</c:v>
                </c:pt>
                <c:pt idx="259">
                  <c:v>2E-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5-1DA3-4645-8329-4F115077874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38968888"/>
        <c:axId val="738967904"/>
      </c:lineChart>
      <c:catAx>
        <c:axId val="738968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8967904"/>
        <c:crosses val="autoZero"/>
        <c:auto val="1"/>
        <c:lblAlgn val="ctr"/>
        <c:lblOffset val="100"/>
        <c:tickLblSkip val="24"/>
        <c:tickMarkSkip val="12"/>
        <c:noMultiLvlLbl val="0"/>
      </c:catAx>
      <c:valAx>
        <c:axId val="738967904"/>
        <c:scaling>
          <c:orientation val="minMax"/>
          <c:max val="0.14000000000000001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8968888"/>
        <c:crosses val="autoZero"/>
        <c:crossBetween val="between"/>
        <c:majorUnit val="2.0000000000000004E-2"/>
      </c:valAx>
      <c:spPr>
        <a:noFill/>
        <a:ln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5.7257883525428897E-2"/>
          <c:y val="9.274956255468067E-2"/>
          <c:w val="0.4499884932861653"/>
          <c:h val="9.3750656167979021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Calibri" panose="020F0502020204030204" pitchFamily="34" charset="0"/>
              <a:ea typeface="+mn-ea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Nominal dollars, not seasonally adjusted</a:t>
            </a:r>
          </a:p>
        </c:rich>
      </c:tx>
      <c:layout>
        <c:manualLayout>
          <c:xMode val="edge"/>
          <c:yMode val="edge"/>
          <c:x val="8.1283777548828512E-2"/>
          <c:y val="1.3877324451845684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2595542719175324E-2"/>
          <c:y val="7.9552342202577828E-2"/>
          <c:w val="0.88444232618802321"/>
          <c:h val="0.76849125109361327"/>
        </c:manualLayout>
      </c:layout>
      <c:lineChart>
        <c:grouping val="standard"/>
        <c:varyColors val="0"/>
        <c:ser>
          <c:idx val="0"/>
          <c:order val="0"/>
          <c:tx>
            <c:strRef>
              <c:f>'Key trading partners_v2'!$B$1</c:f>
              <c:strCache>
                <c:ptCount val="1"/>
                <c:pt idx="0">
                  <c:v> Mexico + Canada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Key trading partners_v2'!$A$26:$A$190</c:f>
              <c:strCache>
                <c:ptCount val="164"/>
                <c:pt idx="0">
                  <c:v>2010</c:v>
                </c:pt>
                <c:pt idx="1">
                  <c:v>10-Feb</c:v>
                </c:pt>
                <c:pt idx="2">
                  <c:v>10-Mar</c:v>
                </c:pt>
                <c:pt idx="3">
                  <c:v>10-Apr</c:v>
                </c:pt>
                <c:pt idx="4">
                  <c:v>10-May</c:v>
                </c:pt>
                <c:pt idx="5">
                  <c:v>10-Jun</c:v>
                </c:pt>
                <c:pt idx="6">
                  <c:v>10-Jul</c:v>
                </c:pt>
                <c:pt idx="7">
                  <c:v>10-Aug</c:v>
                </c:pt>
                <c:pt idx="8">
                  <c:v>10-Sep</c:v>
                </c:pt>
                <c:pt idx="9">
                  <c:v>10-Oct</c:v>
                </c:pt>
                <c:pt idx="10">
                  <c:v>10-Nov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</c:strCache>
            </c:strRef>
          </c:cat>
          <c:val>
            <c:numRef>
              <c:f>'Key trading partners_v2'!$B$26:$B$190</c:f>
              <c:numCache>
                <c:formatCode>"$"#,##0.0</c:formatCode>
                <c:ptCount val="165"/>
                <c:pt idx="0">
                  <c:v>37743.199999999997</c:v>
                </c:pt>
                <c:pt idx="1">
                  <c:v>37692.5</c:v>
                </c:pt>
                <c:pt idx="2">
                  <c:v>44405.8</c:v>
                </c:pt>
                <c:pt idx="3">
                  <c:v>42251.199999999997</c:v>
                </c:pt>
                <c:pt idx="4">
                  <c:v>43077.3</c:v>
                </c:pt>
                <c:pt idx="5">
                  <c:v>44742.7</c:v>
                </c:pt>
                <c:pt idx="6">
                  <c:v>39513.4</c:v>
                </c:pt>
                <c:pt idx="7">
                  <c:v>43709.2</c:v>
                </c:pt>
                <c:pt idx="8">
                  <c:v>42949.4</c:v>
                </c:pt>
                <c:pt idx="9">
                  <c:v>44468.5</c:v>
                </c:pt>
                <c:pt idx="10">
                  <c:v>43439.5</c:v>
                </c:pt>
                <c:pt idx="11">
                  <c:v>43629.7</c:v>
                </c:pt>
                <c:pt idx="12">
                  <c:v>44399.6</c:v>
                </c:pt>
                <c:pt idx="13">
                  <c:v>42275</c:v>
                </c:pt>
                <c:pt idx="14">
                  <c:v>51575.1</c:v>
                </c:pt>
                <c:pt idx="15">
                  <c:v>47296.1</c:v>
                </c:pt>
                <c:pt idx="16">
                  <c:v>49935.4</c:v>
                </c:pt>
                <c:pt idx="17">
                  <c:v>49572.4</c:v>
                </c:pt>
                <c:pt idx="18">
                  <c:v>46537.7</c:v>
                </c:pt>
                <c:pt idx="19">
                  <c:v>50300.4</c:v>
                </c:pt>
                <c:pt idx="20">
                  <c:v>49538.2</c:v>
                </c:pt>
                <c:pt idx="21">
                  <c:v>49535</c:v>
                </c:pt>
                <c:pt idx="22">
                  <c:v>49323.8</c:v>
                </c:pt>
                <c:pt idx="23">
                  <c:v>47909.8</c:v>
                </c:pt>
                <c:pt idx="24">
                  <c:v>48290.9</c:v>
                </c:pt>
                <c:pt idx="25">
                  <c:v>48847.8</c:v>
                </c:pt>
                <c:pt idx="26">
                  <c:v>54300</c:v>
                </c:pt>
                <c:pt idx="27">
                  <c:v>50560.2</c:v>
                </c:pt>
                <c:pt idx="28">
                  <c:v>52427.8</c:v>
                </c:pt>
                <c:pt idx="29">
                  <c:v>50844.800000000003</c:v>
                </c:pt>
                <c:pt idx="30">
                  <c:v>47500</c:v>
                </c:pt>
                <c:pt idx="31">
                  <c:v>50791.4</c:v>
                </c:pt>
                <c:pt idx="32">
                  <c:v>48203.1</c:v>
                </c:pt>
                <c:pt idx="33">
                  <c:v>52478.9</c:v>
                </c:pt>
                <c:pt idx="34">
                  <c:v>51483.1</c:v>
                </c:pt>
                <c:pt idx="35">
                  <c:v>46128.800000000003</c:v>
                </c:pt>
                <c:pt idx="36">
                  <c:v>49610.7</c:v>
                </c:pt>
                <c:pt idx="37">
                  <c:v>47918.6</c:v>
                </c:pt>
                <c:pt idx="38">
                  <c:v>51494.7</c:v>
                </c:pt>
                <c:pt idx="39">
                  <c:v>52891.1</c:v>
                </c:pt>
                <c:pt idx="40">
                  <c:v>52990.2</c:v>
                </c:pt>
                <c:pt idx="41">
                  <c:v>50026.7</c:v>
                </c:pt>
                <c:pt idx="42">
                  <c:v>49738.2</c:v>
                </c:pt>
                <c:pt idx="43">
                  <c:v>51763.4</c:v>
                </c:pt>
                <c:pt idx="44">
                  <c:v>51472.1</c:v>
                </c:pt>
                <c:pt idx="45">
                  <c:v>54949.3</c:v>
                </c:pt>
                <c:pt idx="46">
                  <c:v>51090.9</c:v>
                </c:pt>
                <c:pt idx="47">
                  <c:v>49113.599999999999</c:v>
                </c:pt>
                <c:pt idx="48">
                  <c:v>49726.7</c:v>
                </c:pt>
                <c:pt idx="49">
                  <c:v>48528.1</c:v>
                </c:pt>
                <c:pt idx="50">
                  <c:v>55000.6</c:v>
                </c:pt>
                <c:pt idx="51">
                  <c:v>53862.2</c:v>
                </c:pt>
                <c:pt idx="52">
                  <c:v>55656.2</c:v>
                </c:pt>
                <c:pt idx="53">
                  <c:v>55295.3</c:v>
                </c:pt>
                <c:pt idx="54">
                  <c:v>54594.9</c:v>
                </c:pt>
                <c:pt idx="55">
                  <c:v>53931.4</c:v>
                </c:pt>
                <c:pt idx="56">
                  <c:v>55846.5</c:v>
                </c:pt>
                <c:pt idx="57">
                  <c:v>58280.9</c:v>
                </c:pt>
                <c:pt idx="58">
                  <c:v>51440.3</c:v>
                </c:pt>
                <c:pt idx="59">
                  <c:v>52852.9</c:v>
                </c:pt>
                <c:pt idx="60">
                  <c:v>48104.9</c:v>
                </c:pt>
                <c:pt idx="61">
                  <c:v>45972.3</c:v>
                </c:pt>
                <c:pt idx="62">
                  <c:v>51430.1</c:v>
                </c:pt>
                <c:pt idx="63">
                  <c:v>49467.7</c:v>
                </c:pt>
                <c:pt idx="64">
                  <c:v>48765.7</c:v>
                </c:pt>
                <c:pt idx="65">
                  <c:v>54271.4</c:v>
                </c:pt>
                <c:pt idx="66">
                  <c:v>49522.7</c:v>
                </c:pt>
                <c:pt idx="67">
                  <c:v>49510.5</c:v>
                </c:pt>
                <c:pt idx="68">
                  <c:v>50620.5</c:v>
                </c:pt>
                <c:pt idx="69">
                  <c:v>51341.4</c:v>
                </c:pt>
                <c:pt idx="70">
                  <c:v>46962.1</c:v>
                </c:pt>
                <c:pt idx="71">
                  <c:v>46768.9</c:v>
                </c:pt>
                <c:pt idx="72">
                  <c:v>44606</c:v>
                </c:pt>
                <c:pt idx="73">
                  <c:v>44934.7</c:v>
                </c:pt>
                <c:pt idx="74">
                  <c:v>47871.5</c:v>
                </c:pt>
                <c:pt idx="75">
                  <c:v>47206.1</c:v>
                </c:pt>
                <c:pt idx="76">
                  <c:v>47783.1</c:v>
                </c:pt>
                <c:pt idx="77">
                  <c:v>49040.7</c:v>
                </c:pt>
                <c:pt idx="78">
                  <c:v>44553.2</c:v>
                </c:pt>
                <c:pt idx="79">
                  <c:v>49761.9</c:v>
                </c:pt>
                <c:pt idx="80">
                  <c:v>48871.199999999997</c:v>
                </c:pt>
                <c:pt idx="81">
                  <c:v>50207.1</c:v>
                </c:pt>
                <c:pt idx="82">
                  <c:v>49767.8</c:v>
                </c:pt>
                <c:pt idx="83">
                  <c:v>46617.1</c:v>
                </c:pt>
                <c:pt idx="84">
                  <c:v>47848.7</c:v>
                </c:pt>
                <c:pt idx="85">
                  <c:v>47191.5</c:v>
                </c:pt>
                <c:pt idx="86">
                  <c:v>53918.5</c:v>
                </c:pt>
                <c:pt idx="87">
                  <c:v>49171.199999999997</c:v>
                </c:pt>
                <c:pt idx="88">
                  <c:v>53321.2</c:v>
                </c:pt>
                <c:pt idx="89">
                  <c:v>53044.800000000003</c:v>
                </c:pt>
                <c:pt idx="90">
                  <c:v>47315.7</c:v>
                </c:pt>
                <c:pt idx="91">
                  <c:v>51829.599999999999</c:v>
                </c:pt>
                <c:pt idx="92">
                  <c:v>49943</c:v>
                </c:pt>
                <c:pt idx="93">
                  <c:v>54227.199999999997</c:v>
                </c:pt>
                <c:pt idx="94">
                  <c:v>53612.5</c:v>
                </c:pt>
                <c:pt idx="95">
                  <c:v>50308.4</c:v>
                </c:pt>
                <c:pt idx="96">
                  <c:v>51972.6</c:v>
                </c:pt>
                <c:pt idx="97">
                  <c:v>49774.5</c:v>
                </c:pt>
                <c:pt idx="98">
                  <c:v>56708.3</c:v>
                </c:pt>
                <c:pt idx="99">
                  <c:v>54428.3</c:v>
                </c:pt>
                <c:pt idx="100">
                  <c:v>57373.1</c:v>
                </c:pt>
                <c:pt idx="101">
                  <c:v>57390.3</c:v>
                </c:pt>
                <c:pt idx="102">
                  <c:v>54834.1</c:v>
                </c:pt>
                <c:pt idx="103">
                  <c:v>58844.800000000003</c:v>
                </c:pt>
                <c:pt idx="104">
                  <c:v>55282</c:v>
                </c:pt>
                <c:pt idx="105">
                  <c:v>59691.7</c:v>
                </c:pt>
                <c:pt idx="106">
                  <c:v>55091.3</c:v>
                </c:pt>
                <c:pt idx="107">
                  <c:v>50864.3</c:v>
                </c:pt>
                <c:pt idx="108">
                  <c:v>50906.3</c:v>
                </c:pt>
                <c:pt idx="109">
                  <c:v>50300</c:v>
                </c:pt>
                <c:pt idx="110">
                  <c:v>58661</c:v>
                </c:pt>
                <c:pt idx="111">
                  <c:v>56960.6</c:v>
                </c:pt>
                <c:pt idx="112">
                  <c:v>61104.1</c:v>
                </c:pt>
                <c:pt idx="113">
                  <c:v>57837.7</c:v>
                </c:pt>
                <c:pt idx="114">
                  <c:v>56714</c:v>
                </c:pt>
                <c:pt idx="115">
                  <c:v>57521.4</c:v>
                </c:pt>
                <c:pt idx="116">
                  <c:v>56125.3</c:v>
                </c:pt>
                <c:pt idx="117">
                  <c:v>59467.1</c:v>
                </c:pt>
                <c:pt idx="118">
                  <c:v>54300.9</c:v>
                </c:pt>
                <c:pt idx="119">
                  <c:v>54784</c:v>
                </c:pt>
                <c:pt idx="120">
                  <c:v>53489.1</c:v>
                </c:pt>
                <c:pt idx="121">
                  <c:v>53242.2</c:v>
                </c:pt>
                <c:pt idx="122">
                  <c:v>54962.5</c:v>
                </c:pt>
                <c:pt idx="123">
                  <c:v>30709</c:v>
                </c:pt>
                <c:pt idx="124">
                  <c:v>30700.1</c:v>
                </c:pt>
                <c:pt idx="125">
                  <c:v>45987.3</c:v>
                </c:pt>
                <c:pt idx="126">
                  <c:v>51207.9</c:v>
                </c:pt>
                <c:pt idx="127">
                  <c:v>53304.5</c:v>
                </c:pt>
                <c:pt idx="128">
                  <c:v>54383.5</c:v>
                </c:pt>
                <c:pt idx="129">
                  <c:v>57638.6</c:v>
                </c:pt>
                <c:pt idx="130">
                  <c:v>53884.6</c:v>
                </c:pt>
                <c:pt idx="131">
                  <c:v>53993.2</c:v>
                </c:pt>
                <c:pt idx="132">
                  <c:v>53698.400000000001</c:v>
                </c:pt>
                <c:pt idx="133">
                  <c:v>52417.9</c:v>
                </c:pt>
                <c:pt idx="134">
                  <c:v>63126.3</c:v>
                </c:pt>
                <c:pt idx="135">
                  <c:v>59479</c:v>
                </c:pt>
                <c:pt idx="136">
                  <c:v>60151.3</c:v>
                </c:pt>
                <c:pt idx="137">
                  <c:v>64939.3</c:v>
                </c:pt>
                <c:pt idx="138">
                  <c:v>61629</c:v>
                </c:pt>
                <c:pt idx="139">
                  <c:v>62910.400000000001</c:v>
                </c:pt>
                <c:pt idx="140">
                  <c:v>61757.5</c:v>
                </c:pt>
                <c:pt idx="141">
                  <c:v>65718.3</c:v>
                </c:pt>
                <c:pt idx="142">
                  <c:v>68283</c:v>
                </c:pt>
                <c:pt idx="143">
                  <c:v>65757.7</c:v>
                </c:pt>
                <c:pt idx="144">
                  <c:v>64881.4</c:v>
                </c:pt>
                <c:pt idx="145">
                  <c:v>63726.8</c:v>
                </c:pt>
                <c:pt idx="146">
                  <c:v>80321.3</c:v>
                </c:pt>
                <c:pt idx="147">
                  <c:v>76978.2</c:v>
                </c:pt>
                <c:pt idx="148">
                  <c:v>79959.600000000006</c:v>
                </c:pt>
                <c:pt idx="149">
                  <c:v>80413.899999999994</c:v>
                </c:pt>
                <c:pt idx="150">
                  <c:v>75809</c:v>
                </c:pt>
                <c:pt idx="151">
                  <c:v>79154.5</c:v>
                </c:pt>
                <c:pt idx="152">
                  <c:v>75506.399999999994</c:v>
                </c:pt>
                <c:pt idx="153">
                  <c:v>75075.199999999997</c:v>
                </c:pt>
                <c:pt idx="154">
                  <c:v>70617.2</c:v>
                </c:pt>
                <c:pt idx="155">
                  <c:v>68892.600000000006</c:v>
                </c:pt>
                <c:pt idx="156">
                  <c:v>71447.399999999994</c:v>
                </c:pt>
                <c:pt idx="157">
                  <c:v>67927.5</c:v>
                </c:pt>
                <c:pt idx="158">
                  <c:v>80382.2</c:v>
                </c:pt>
                <c:pt idx="159">
                  <c:v>72493.899999999994</c:v>
                </c:pt>
                <c:pt idx="160">
                  <c:v>78189.7</c:v>
                </c:pt>
                <c:pt idx="161">
                  <c:v>76210.899999999994</c:v>
                </c:pt>
                <c:pt idx="162">
                  <c:v>72001.8</c:v>
                </c:pt>
                <c:pt idx="163">
                  <c:v>77993.60000000000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56C6-4904-9399-4C49E16E0B70}"/>
            </c:ext>
          </c:extLst>
        </c:ser>
        <c:ser>
          <c:idx val="1"/>
          <c:order val="1"/>
          <c:tx>
            <c:strRef>
              <c:f>'Key trading partners_v2'!$C$1</c:f>
              <c:strCache>
                <c:ptCount val="1"/>
                <c:pt idx="0">
                  <c:v> Canada</c:v>
                </c:pt>
              </c:strCache>
            </c:strRef>
          </c:tx>
          <c:spPr>
            <a:ln w="38100" cap="rnd">
              <a:solidFill>
                <a:srgbClr val="00B05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Key trading partners_v2'!$A$26:$A$190</c:f>
              <c:strCache>
                <c:ptCount val="164"/>
                <c:pt idx="0">
                  <c:v>2010</c:v>
                </c:pt>
                <c:pt idx="1">
                  <c:v>10-Feb</c:v>
                </c:pt>
                <c:pt idx="2">
                  <c:v>10-Mar</c:v>
                </c:pt>
                <c:pt idx="3">
                  <c:v>10-Apr</c:v>
                </c:pt>
                <c:pt idx="4">
                  <c:v>10-May</c:v>
                </c:pt>
                <c:pt idx="5">
                  <c:v>10-Jun</c:v>
                </c:pt>
                <c:pt idx="6">
                  <c:v>10-Jul</c:v>
                </c:pt>
                <c:pt idx="7">
                  <c:v>10-Aug</c:v>
                </c:pt>
                <c:pt idx="8">
                  <c:v>10-Sep</c:v>
                </c:pt>
                <c:pt idx="9">
                  <c:v>10-Oct</c:v>
                </c:pt>
                <c:pt idx="10">
                  <c:v>10-Nov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</c:strCache>
            </c:strRef>
          </c:cat>
          <c:val>
            <c:numRef>
              <c:f>'Key trading partners_v2'!$C$86:$C$186</c:f>
              <c:numCache>
                <c:formatCode>General</c:formatCode>
                <c:ptCount val="101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56C6-4904-9399-4C49E16E0B70}"/>
            </c:ext>
          </c:extLst>
        </c:ser>
        <c:ser>
          <c:idx val="2"/>
          <c:order val="2"/>
          <c:tx>
            <c:strRef>
              <c:f>'Key trading partners_v2'!$D$1</c:f>
              <c:strCache>
                <c:ptCount val="1"/>
                <c:pt idx="0">
                  <c:v> China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Key trading partners_v2'!$A$26:$A$190</c:f>
              <c:strCache>
                <c:ptCount val="164"/>
                <c:pt idx="0">
                  <c:v>2010</c:v>
                </c:pt>
                <c:pt idx="1">
                  <c:v>10-Feb</c:v>
                </c:pt>
                <c:pt idx="2">
                  <c:v>10-Mar</c:v>
                </c:pt>
                <c:pt idx="3">
                  <c:v>10-Apr</c:v>
                </c:pt>
                <c:pt idx="4">
                  <c:v>10-May</c:v>
                </c:pt>
                <c:pt idx="5">
                  <c:v>10-Jun</c:v>
                </c:pt>
                <c:pt idx="6">
                  <c:v>10-Jul</c:v>
                </c:pt>
                <c:pt idx="7">
                  <c:v>10-Aug</c:v>
                </c:pt>
                <c:pt idx="8">
                  <c:v>10-Sep</c:v>
                </c:pt>
                <c:pt idx="9">
                  <c:v>10-Oct</c:v>
                </c:pt>
                <c:pt idx="10">
                  <c:v>10-Nov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</c:strCache>
            </c:strRef>
          </c:cat>
          <c:val>
            <c:numRef>
              <c:f>'Key trading partners_v2'!$D$26:$D$190</c:f>
              <c:numCache>
                <c:formatCode>"$"#,##0.0</c:formatCode>
                <c:ptCount val="165"/>
                <c:pt idx="0">
                  <c:v>25215.9</c:v>
                </c:pt>
                <c:pt idx="1">
                  <c:v>23342.799999999999</c:v>
                </c:pt>
                <c:pt idx="2">
                  <c:v>24292.2</c:v>
                </c:pt>
                <c:pt idx="3">
                  <c:v>25920.2</c:v>
                </c:pt>
                <c:pt idx="4">
                  <c:v>29052.400000000001</c:v>
                </c:pt>
                <c:pt idx="5">
                  <c:v>32843.1</c:v>
                </c:pt>
                <c:pt idx="6">
                  <c:v>33266.800000000003</c:v>
                </c:pt>
                <c:pt idx="7">
                  <c:v>35375.300000000003</c:v>
                </c:pt>
                <c:pt idx="8">
                  <c:v>35196.699999999997</c:v>
                </c:pt>
                <c:pt idx="9">
                  <c:v>35083.300000000003</c:v>
                </c:pt>
                <c:pt idx="10">
                  <c:v>34564.300000000003</c:v>
                </c:pt>
                <c:pt idx="11">
                  <c:v>30799.599999999999</c:v>
                </c:pt>
                <c:pt idx="12">
                  <c:v>31377.4</c:v>
                </c:pt>
                <c:pt idx="13">
                  <c:v>27244.7</c:v>
                </c:pt>
                <c:pt idx="14">
                  <c:v>27599.7</c:v>
                </c:pt>
                <c:pt idx="15">
                  <c:v>29580.3</c:v>
                </c:pt>
                <c:pt idx="16">
                  <c:v>32788.1</c:v>
                </c:pt>
                <c:pt idx="17">
                  <c:v>34374.800000000003</c:v>
                </c:pt>
                <c:pt idx="18">
                  <c:v>35152.199999999997</c:v>
                </c:pt>
                <c:pt idx="19">
                  <c:v>37374.1</c:v>
                </c:pt>
                <c:pt idx="20">
                  <c:v>36418.6</c:v>
                </c:pt>
                <c:pt idx="21">
                  <c:v>37824.1</c:v>
                </c:pt>
                <c:pt idx="22">
                  <c:v>36764.9</c:v>
                </c:pt>
                <c:pt idx="23">
                  <c:v>32872.300000000003</c:v>
                </c:pt>
                <c:pt idx="24">
                  <c:v>34417.5</c:v>
                </c:pt>
                <c:pt idx="25">
                  <c:v>28105.200000000001</c:v>
                </c:pt>
                <c:pt idx="26">
                  <c:v>31431.3</c:v>
                </c:pt>
                <c:pt idx="27">
                  <c:v>33016.300000000003</c:v>
                </c:pt>
                <c:pt idx="28">
                  <c:v>34937.800000000003</c:v>
                </c:pt>
                <c:pt idx="29">
                  <c:v>35949.4</c:v>
                </c:pt>
                <c:pt idx="30">
                  <c:v>37930.800000000003</c:v>
                </c:pt>
                <c:pt idx="31">
                  <c:v>37280.6</c:v>
                </c:pt>
                <c:pt idx="32">
                  <c:v>37891.800000000003</c:v>
                </c:pt>
                <c:pt idx="33">
                  <c:v>40257.1</c:v>
                </c:pt>
                <c:pt idx="34">
                  <c:v>39543.699999999997</c:v>
                </c:pt>
                <c:pt idx="35">
                  <c:v>34857.599999999999</c:v>
                </c:pt>
                <c:pt idx="36">
                  <c:v>37193.699999999997</c:v>
                </c:pt>
                <c:pt idx="37">
                  <c:v>32742.7</c:v>
                </c:pt>
                <c:pt idx="38">
                  <c:v>27294.1</c:v>
                </c:pt>
                <c:pt idx="39">
                  <c:v>33131.9</c:v>
                </c:pt>
                <c:pt idx="40">
                  <c:v>36617.599999999999</c:v>
                </c:pt>
                <c:pt idx="41">
                  <c:v>35886</c:v>
                </c:pt>
                <c:pt idx="42">
                  <c:v>38800.400000000001</c:v>
                </c:pt>
                <c:pt idx="43">
                  <c:v>39161.300000000003</c:v>
                </c:pt>
                <c:pt idx="44">
                  <c:v>40144.400000000001</c:v>
                </c:pt>
                <c:pt idx="45">
                  <c:v>41845.5</c:v>
                </c:pt>
                <c:pt idx="46">
                  <c:v>40112.300000000003</c:v>
                </c:pt>
                <c:pt idx="47">
                  <c:v>37500.199999999997</c:v>
                </c:pt>
                <c:pt idx="48">
                  <c:v>38377.199999999997</c:v>
                </c:pt>
                <c:pt idx="49">
                  <c:v>30700.400000000001</c:v>
                </c:pt>
                <c:pt idx="50">
                  <c:v>31420.9</c:v>
                </c:pt>
                <c:pt idx="51">
                  <c:v>36450.199999999997</c:v>
                </c:pt>
                <c:pt idx="52">
                  <c:v>38188.1</c:v>
                </c:pt>
                <c:pt idx="53">
                  <c:v>39607.1</c:v>
                </c:pt>
                <c:pt idx="54">
                  <c:v>40319.599999999999</c:v>
                </c:pt>
                <c:pt idx="55">
                  <c:v>40093.800000000003</c:v>
                </c:pt>
                <c:pt idx="56">
                  <c:v>45102.8</c:v>
                </c:pt>
                <c:pt idx="57">
                  <c:v>45335.4</c:v>
                </c:pt>
                <c:pt idx="58">
                  <c:v>42483.5</c:v>
                </c:pt>
                <c:pt idx="59">
                  <c:v>40395.9</c:v>
                </c:pt>
                <c:pt idx="60">
                  <c:v>38589.699999999997</c:v>
                </c:pt>
                <c:pt idx="61">
                  <c:v>31564</c:v>
                </c:pt>
                <c:pt idx="62">
                  <c:v>41136.9</c:v>
                </c:pt>
                <c:pt idx="63">
                  <c:v>36121.4</c:v>
                </c:pt>
                <c:pt idx="64">
                  <c:v>39082</c:v>
                </c:pt>
                <c:pt idx="65">
                  <c:v>41453.800000000003</c:v>
                </c:pt>
                <c:pt idx="66">
                  <c:v>41215.1</c:v>
                </c:pt>
                <c:pt idx="67">
                  <c:v>44138.1</c:v>
                </c:pt>
                <c:pt idx="68">
                  <c:v>45725</c:v>
                </c:pt>
                <c:pt idx="69">
                  <c:v>44309.9</c:v>
                </c:pt>
                <c:pt idx="70">
                  <c:v>41884.800000000003</c:v>
                </c:pt>
                <c:pt idx="71">
                  <c:v>37981</c:v>
                </c:pt>
                <c:pt idx="72">
                  <c:v>37126.400000000001</c:v>
                </c:pt>
                <c:pt idx="73">
                  <c:v>36066.9</c:v>
                </c:pt>
                <c:pt idx="74">
                  <c:v>29812.3</c:v>
                </c:pt>
                <c:pt idx="75">
                  <c:v>32920.199999999997</c:v>
                </c:pt>
                <c:pt idx="76">
                  <c:v>37513.699999999997</c:v>
                </c:pt>
                <c:pt idx="77">
                  <c:v>38539.199999999997</c:v>
                </c:pt>
                <c:pt idx="78">
                  <c:v>39438.9</c:v>
                </c:pt>
                <c:pt idx="79">
                  <c:v>43221.8</c:v>
                </c:pt>
                <c:pt idx="80">
                  <c:v>42020.9</c:v>
                </c:pt>
                <c:pt idx="81">
                  <c:v>43798.1</c:v>
                </c:pt>
                <c:pt idx="82">
                  <c:v>42602.6</c:v>
                </c:pt>
                <c:pt idx="83">
                  <c:v>39358.9</c:v>
                </c:pt>
                <c:pt idx="84">
                  <c:v>41335.599999999999</c:v>
                </c:pt>
                <c:pt idx="85">
                  <c:v>32785</c:v>
                </c:pt>
                <c:pt idx="86">
                  <c:v>34162</c:v>
                </c:pt>
                <c:pt idx="87">
                  <c:v>37441.9</c:v>
                </c:pt>
                <c:pt idx="88">
                  <c:v>41756.800000000003</c:v>
                </c:pt>
                <c:pt idx="89">
                  <c:v>42258.1</c:v>
                </c:pt>
                <c:pt idx="90">
                  <c:v>43561.1</c:v>
                </c:pt>
                <c:pt idx="91">
                  <c:v>45782.3</c:v>
                </c:pt>
                <c:pt idx="92">
                  <c:v>45405.1</c:v>
                </c:pt>
                <c:pt idx="93">
                  <c:v>48133.1</c:v>
                </c:pt>
                <c:pt idx="94">
                  <c:v>48104.800000000003</c:v>
                </c:pt>
                <c:pt idx="95">
                  <c:v>44439.4</c:v>
                </c:pt>
                <c:pt idx="96">
                  <c:v>45681.3</c:v>
                </c:pt>
                <c:pt idx="97">
                  <c:v>38956.199999999997</c:v>
                </c:pt>
                <c:pt idx="98">
                  <c:v>38273.800000000003</c:v>
                </c:pt>
                <c:pt idx="99">
                  <c:v>38227.800000000003</c:v>
                </c:pt>
                <c:pt idx="100">
                  <c:v>43866.6</c:v>
                </c:pt>
                <c:pt idx="101">
                  <c:v>44524</c:v>
                </c:pt>
                <c:pt idx="102">
                  <c:v>47009.8</c:v>
                </c:pt>
                <c:pt idx="103">
                  <c:v>47796.2</c:v>
                </c:pt>
                <c:pt idx="104">
                  <c:v>49938</c:v>
                </c:pt>
                <c:pt idx="105">
                  <c:v>52081.1</c:v>
                </c:pt>
                <c:pt idx="106">
                  <c:v>46344.6</c:v>
                </c:pt>
                <c:pt idx="107">
                  <c:v>45814.9</c:v>
                </c:pt>
                <c:pt idx="108">
                  <c:v>41302.5</c:v>
                </c:pt>
                <c:pt idx="109">
                  <c:v>33027.800000000003</c:v>
                </c:pt>
                <c:pt idx="110">
                  <c:v>31078.7</c:v>
                </c:pt>
                <c:pt idx="111">
                  <c:v>34499.5</c:v>
                </c:pt>
                <c:pt idx="112">
                  <c:v>39023.9</c:v>
                </c:pt>
                <c:pt idx="113">
                  <c:v>38733</c:v>
                </c:pt>
                <c:pt idx="114">
                  <c:v>41237.199999999997</c:v>
                </c:pt>
                <c:pt idx="115">
                  <c:v>40955.599999999999</c:v>
                </c:pt>
                <c:pt idx="116">
                  <c:v>39866.699999999997</c:v>
                </c:pt>
                <c:pt idx="117">
                  <c:v>39794.9</c:v>
                </c:pt>
                <c:pt idx="118">
                  <c:v>36172.9</c:v>
                </c:pt>
                <c:pt idx="119">
                  <c:v>33418.1</c:v>
                </c:pt>
                <c:pt idx="120">
                  <c:v>32944.699999999997</c:v>
                </c:pt>
                <c:pt idx="121">
                  <c:v>22576.6</c:v>
                </c:pt>
                <c:pt idx="122">
                  <c:v>19638.099999999999</c:v>
                </c:pt>
                <c:pt idx="123">
                  <c:v>30730.1</c:v>
                </c:pt>
                <c:pt idx="124">
                  <c:v>36318.699999999997</c:v>
                </c:pt>
                <c:pt idx="125">
                  <c:v>37286.9</c:v>
                </c:pt>
                <c:pt idx="126">
                  <c:v>40469.800000000003</c:v>
                </c:pt>
                <c:pt idx="127">
                  <c:v>40598.9</c:v>
                </c:pt>
                <c:pt idx="128">
                  <c:v>41003.199999999997</c:v>
                </c:pt>
                <c:pt idx="129">
                  <c:v>44654.3</c:v>
                </c:pt>
                <c:pt idx="130">
                  <c:v>44700.4</c:v>
                </c:pt>
                <c:pt idx="131">
                  <c:v>41626.199999999997</c:v>
                </c:pt>
                <c:pt idx="132">
                  <c:v>38837.4</c:v>
                </c:pt>
                <c:pt idx="133">
                  <c:v>33824.6</c:v>
                </c:pt>
                <c:pt idx="134">
                  <c:v>39943.4</c:v>
                </c:pt>
                <c:pt idx="135">
                  <c:v>37374.300000000003</c:v>
                </c:pt>
                <c:pt idx="136">
                  <c:v>38495</c:v>
                </c:pt>
                <c:pt idx="137">
                  <c:v>39785.800000000003</c:v>
                </c:pt>
                <c:pt idx="138">
                  <c:v>40287</c:v>
                </c:pt>
                <c:pt idx="139">
                  <c:v>42868</c:v>
                </c:pt>
                <c:pt idx="140">
                  <c:v>47334.3</c:v>
                </c:pt>
                <c:pt idx="141">
                  <c:v>47909.5</c:v>
                </c:pt>
                <c:pt idx="142">
                  <c:v>48222.2</c:v>
                </c:pt>
                <c:pt idx="143">
                  <c:v>49404.5</c:v>
                </c:pt>
                <c:pt idx="144">
                  <c:v>47699.5</c:v>
                </c:pt>
                <c:pt idx="145">
                  <c:v>42277.1</c:v>
                </c:pt>
                <c:pt idx="146">
                  <c:v>47299.9</c:v>
                </c:pt>
                <c:pt idx="147">
                  <c:v>41751.300000000003</c:v>
                </c:pt>
                <c:pt idx="148">
                  <c:v>43810.9</c:v>
                </c:pt>
                <c:pt idx="149">
                  <c:v>48532.2</c:v>
                </c:pt>
                <c:pt idx="150">
                  <c:v>46569.7</c:v>
                </c:pt>
                <c:pt idx="151">
                  <c:v>50380.2</c:v>
                </c:pt>
                <c:pt idx="152">
                  <c:v>49250.2</c:v>
                </c:pt>
                <c:pt idx="153">
                  <c:v>44605.7</c:v>
                </c:pt>
                <c:pt idx="154">
                  <c:v>36902.199999999997</c:v>
                </c:pt>
                <c:pt idx="155">
                  <c:v>37228.199999999997</c:v>
                </c:pt>
                <c:pt idx="156">
                  <c:v>38252.9</c:v>
                </c:pt>
                <c:pt idx="157">
                  <c:v>30620.6</c:v>
                </c:pt>
                <c:pt idx="158">
                  <c:v>30789.7</c:v>
                </c:pt>
                <c:pt idx="159">
                  <c:v>33077.300000000003</c:v>
                </c:pt>
                <c:pt idx="160">
                  <c:v>35890.6</c:v>
                </c:pt>
                <c:pt idx="161">
                  <c:v>34334.1</c:v>
                </c:pt>
                <c:pt idx="162">
                  <c:v>36099.5</c:v>
                </c:pt>
                <c:pt idx="163">
                  <c:v>36724.69999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56C6-4904-9399-4C49E16E0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in val="100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Billions</a:t>
                </a:r>
              </a:p>
            </c:rich>
          </c:tx>
          <c:layout>
            <c:manualLayout>
              <c:xMode val="edge"/>
              <c:yMode val="edge"/>
              <c:x val="0"/>
              <c:y val="0.444531796806649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dispUnits>
          <c:builtInUnit val="thousands"/>
        </c:dispUnits>
      </c:valAx>
      <c:spPr>
        <a:noFill/>
        <a:ln>
          <a:solidFill>
            <a:srgbClr val="7F7F7F"/>
          </a:solidFill>
        </a:ln>
        <a:effectLst/>
      </c:spPr>
    </c:plotArea>
    <c:legend>
      <c:legendPos val="r"/>
      <c:legendEntry>
        <c:idx val="1"/>
        <c:delete val="1"/>
      </c:legendEntry>
      <c:layout>
        <c:manualLayout>
          <c:xMode val="edge"/>
          <c:yMode val="edge"/>
          <c:x val="8.7561871003891817E-2"/>
          <c:y val="9.1874225546952362E-2"/>
          <c:w val="0.30593818940446871"/>
          <c:h val="9.0550525480734556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Nominal orders vs.</a:t>
            </a:r>
            <a:r>
              <a:rPr lang="en-US" sz="1400" baseline="0" dirty="0">
                <a:solidFill>
                  <a:schemeClr val="tx1"/>
                </a:solidFill>
              </a:rPr>
              <a:t> orders adjusted by PPI for final demand: Private capital equipment</a:t>
            </a:r>
            <a:endParaRPr lang="en-US" sz="14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9.7110000672992802E-2"/>
          <c:y val="1.04166666666666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150472777441282E-2"/>
          <c:y val="7.2317776684164475E-2"/>
          <c:w val="0.90846038266955764"/>
          <c:h val="0.79387426181102372"/>
        </c:manualLayout>
      </c:layout>
      <c:lineChart>
        <c:grouping val="standard"/>
        <c:varyColors val="0"/>
        <c:ser>
          <c:idx val="0"/>
          <c:order val="0"/>
          <c:tx>
            <c:strRef>
              <c:f>WPSFD41312!$G$12</c:f>
              <c:strCache>
                <c:ptCount val="1"/>
                <c:pt idx="0">
                  <c:v> Nominal</c:v>
                </c:pt>
              </c:strCache>
            </c:strRef>
          </c:tx>
          <c:spPr>
            <a:ln w="38100" cap="rnd">
              <a:solidFill>
                <a:schemeClr val="accent1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WPSFD41312!$F$97:$F$200</c:f>
              <c:numCache>
                <c:formatCode>m/d/yyyy</c:formatCode>
                <c:ptCount val="104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</c:numCache>
            </c:numRef>
          </c:cat>
          <c:val>
            <c:numRef>
              <c:f>WPSFD41312!$G$97:$G$200</c:f>
              <c:numCache>
                <c:formatCode>0.0</c:formatCode>
                <c:ptCount val="104"/>
                <c:pt idx="0">
                  <c:v>65049</c:v>
                </c:pt>
                <c:pt idx="1">
                  <c:v>64129</c:v>
                </c:pt>
                <c:pt idx="2">
                  <c:v>64661</c:v>
                </c:pt>
                <c:pt idx="3">
                  <c:v>64203</c:v>
                </c:pt>
                <c:pt idx="4">
                  <c:v>62510</c:v>
                </c:pt>
                <c:pt idx="5">
                  <c:v>63839</c:v>
                </c:pt>
                <c:pt idx="6">
                  <c:v>63633</c:v>
                </c:pt>
                <c:pt idx="7">
                  <c:v>63189</c:v>
                </c:pt>
                <c:pt idx="8">
                  <c:v>63210</c:v>
                </c:pt>
                <c:pt idx="9">
                  <c:v>63348</c:v>
                </c:pt>
                <c:pt idx="10">
                  <c:v>62051</c:v>
                </c:pt>
                <c:pt idx="11">
                  <c:v>60189</c:v>
                </c:pt>
                <c:pt idx="12">
                  <c:v>61890</c:v>
                </c:pt>
                <c:pt idx="13">
                  <c:v>61084</c:v>
                </c:pt>
                <c:pt idx="14">
                  <c:v>60622</c:v>
                </c:pt>
                <c:pt idx="15">
                  <c:v>61040</c:v>
                </c:pt>
                <c:pt idx="16">
                  <c:v>59328</c:v>
                </c:pt>
                <c:pt idx="17">
                  <c:v>59502</c:v>
                </c:pt>
                <c:pt idx="18">
                  <c:v>59742</c:v>
                </c:pt>
                <c:pt idx="19">
                  <c:v>61564</c:v>
                </c:pt>
                <c:pt idx="20">
                  <c:v>59476</c:v>
                </c:pt>
                <c:pt idx="21">
                  <c:v>59343</c:v>
                </c:pt>
                <c:pt idx="22">
                  <c:v>59361</c:v>
                </c:pt>
                <c:pt idx="23">
                  <c:v>59536</c:v>
                </c:pt>
                <c:pt idx="24">
                  <c:v>60621</c:v>
                </c:pt>
                <c:pt idx="25">
                  <c:v>60902</c:v>
                </c:pt>
                <c:pt idx="26">
                  <c:v>61306</c:v>
                </c:pt>
                <c:pt idx="27">
                  <c:v>61205</c:v>
                </c:pt>
                <c:pt idx="28">
                  <c:v>61225</c:v>
                </c:pt>
                <c:pt idx="29">
                  <c:v>60319</c:v>
                </c:pt>
                <c:pt idx="30">
                  <c:v>61221</c:v>
                </c:pt>
                <c:pt idx="31">
                  <c:v>61434</c:v>
                </c:pt>
                <c:pt idx="32">
                  <c:v>63614</c:v>
                </c:pt>
                <c:pt idx="33">
                  <c:v>63787</c:v>
                </c:pt>
                <c:pt idx="34">
                  <c:v>63929</c:v>
                </c:pt>
                <c:pt idx="35">
                  <c:v>63743</c:v>
                </c:pt>
                <c:pt idx="36">
                  <c:v>63726</c:v>
                </c:pt>
                <c:pt idx="37">
                  <c:v>65524</c:v>
                </c:pt>
                <c:pt idx="38">
                  <c:v>64174</c:v>
                </c:pt>
                <c:pt idx="39">
                  <c:v>65156</c:v>
                </c:pt>
                <c:pt idx="40">
                  <c:v>66727</c:v>
                </c:pt>
                <c:pt idx="41">
                  <c:v>67648</c:v>
                </c:pt>
                <c:pt idx="42">
                  <c:v>68164</c:v>
                </c:pt>
                <c:pt idx="43">
                  <c:v>67274</c:v>
                </c:pt>
                <c:pt idx="44">
                  <c:v>67080</c:v>
                </c:pt>
                <c:pt idx="45">
                  <c:v>67701</c:v>
                </c:pt>
                <c:pt idx="46">
                  <c:v>65840</c:v>
                </c:pt>
                <c:pt idx="47">
                  <c:v>65773</c:v>
                </c:pt>
                <c:pt idx="48">
                  <c:v>66817</c:v>
                </c:pt>
                <c:pt idx="49">
                  <c:v>67061</c:v>
                </c:pt>
                <c:pt idx="50">
                  <c:v>67584</c:v>
                </c:pt>
                <c:pt idx="51">
                  <c:v>66822</c:v>
                </c:pt>
                <c:pt idx="52">
                  <c:v>66778</c:v>
                </c:pt>
                <c:pt idx="53">
                  <c:v>65972</c:v>
                </c:pt>
                <c:pt idx="54">
                  <c:v>65471</c:v>
                </c:pt>
                <c:pt idx="55">
                  <c:v>65693</c:v>
                </c:pt>
                <c:pt idx="56">
                  <c:v>64871</c:v>
                </c:pt>
                <c:pt idx="57">
                  <c:v>64835</c:v>
                </c:pt>
                <c:pt idx="58">
                  <c:v>63893</c:v>
                </c:pt>
                <c:pt idx="59">
                  <c:v>62812</c:v>
                </c:pt>
                <c:pt idx="60">
                  <c:v>61904</c:v>
                </c:pt>
                <c:pt idx="61">
                  <c:v>61111</c:v>
                </c:pt>
                <c:pt idx="62">
                  <c:v>60452</c:v>
                </c:pt>
                <c:pt idx="63">
                  <c:v>55156</c:v>
                </c:pt>
                <c:pt idx="64">
                  <c:v>56113</c:v>
                </c:pt>
                <c:pt idx="65">
                  <c:v>58096</c:v>
                </c:pt>
                <c:pt idx="66">
                  <c:v>59442</c:v>
                </c:pt>
                <c:pt idx="67">
                  <c:v>59972</c:v>
                </c:pt>
                <c:pt idx="68">
                  <c:v>61416</c:v>
                </c:pt>
                <c:pt idx="69">
                  <c:v>62292</c:v>
                </c:pt>
                <c:pt idx="70">
                  <c:v>62330</c:v>
                </c:pt>
                <c:pt idx="71">
                  <c:v>63719</c:v>
                </c:pt>
                <c:pt idx="72">
                  <c:v>64783</c:v>
                </c:pt>
                <c:pt idx="73">
                  <c:v>65028</c:v>
                </c:pt>
                <c:pt idx="74">
                  <c:v>66317</c:v>
                </c:pt>
                <c:pt idx="75">
                  <c:v>68209</c:v>
                </c:pt>
                <c:pt idx="76">
                  <c:v>66660</c:v>
                </c:pt>
                <c:pt idx="77">
                  <c:v>67612</c:v>
                </c:pt>
                <c:pt idx="78">
                  <c:v>68094</c:v>
                </c:pt>
                <c:pt idx="79">
                  <c:v>68667</c:v>
                </c:pt>
                <c:pt idx="80">
                  <c:v>68862</c:v>
                </c:pt>
                <c:pt idx="81">
                  <c:v>70048</c:v>
                </c:pt>
                <c:pt idx="82">
                  <c:v>70265</c:v>
                </c:pt>
                <c:pt idx="83">
                  <c:v>71429</c:v>
                </c:pt>
                <c:pt idx="84">
                  <c:v>70596</c:v>
                </c:pt>
                <c:pt idx="85">
                  <c:v>70905</c:v>
                </c:pt>
                <c:pt idx="86">
                  <c:v>71759</c:v>
                </c:pt>
                <c:pt idx="87">
                  <c:v>72177</c:v>
                </c:pt>
                <c:pt idx="88">
                  <c:v>72444</c:v>
                </c:pt>
                <c:pt idx="89">
                  <c:v>72732</c:v>
                </c:pt>
                <c:pt idx="90">
                  <c:v>72998</c:v>
                </c:pt>
                <c:pt idx="91">
                  <c:v>73674</c:v>
                </c:pt>
                <c:pt idx="92">
                  <c:v>72742</c:v>
                </c:pt>
                <c:pt idx="93">
                  <c:v>73365</c:v>
                </c:pt>
                <c:pt idx="94">
                  <c:v>72533</c:v>
                </c:pt>
                <c:pt idx="95">
                  <c:v>72985</c:v>
                </c:pt>
                <c:pt idx="96">
                  <c:v>73619</c:v>
                </c:pt>
                <c:pt idx="97">
                  <c:v>73468</c:v>
                </c:pt>
                <c:pt idx="98">
                  <c:v>73034</c:v>
                </c:pt>
                <c:pt idx="99">
                  <c:v>73577</c:v>
                </c:pt>
                <c:pt idx="100">
                  <c:v>73873</c:v>
                </c:pt>
                <c:pt idx="101">
                  <c:v>73559</c:v>
                </c:pt>
                <c:pt idx="102">
                  <c:v>73253</c:v>
                </c:pt>
                <c:pt idx="103">
                  <c:v>739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4A17-402B-A0B3-EC5DB14F08E2}"/>
            </c:ext>
          </c:extLst>
        </c:ser>
        <c:ser>
          <c:idx val="1"/>
          <c:order val="1"/>
          <c:tx>
            <c:strRef>
              <c:f>WPSFD41312!$H$12</c:f>
              <c:strCache>
                <c:ptCount val="1"/>
                <c:pt idx="0">
                  <c:v> Real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WPSFD41312!$F$97:$F$200</c:f>
              <c:numCache>
                <c:formatCode>m/d/yyyy</c:formatCode>
                <c:ptCount val="104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</c:numCache>
            </c:numRef>
          </c:cat>
          <c:val>
            <c:numRef>
              <c:f>WPSFD41312!$H$97:$H$200</c:f>
              <c:numCache>
                <c:formatCode>General</c:formatCode>
                <c:ptCount val="104"/>
                <c:pt idx="0">
                  <c:v>65049</c:v>
                </c:pt>
                <c:pt idx="1">
                  <c:v>63976.402736466385</c:v>
                </c:pt>
                <c:pt idx="2">
                  <c:v>64430.479500891248</c:v>
                </c:pt>
                <c:pt idx="3">
                  <c:v>63974.112299465225</c:v>
                </c:pt>
                <c:pt idx="4">
                  <c:v>62213.216617210688</c:v>
                </c:pt>
                <c:pt idx="5">
                  <c:v>63535.90682492582</c:v>
                </c:pt>
                <c:pt idx="6">
                  <c:v>63218.329976303314</c:v>
                </c:pt>
                <c:pt idx="7">
                  <c:v>62777.223341232224</c:v>
                </c:pt>
                <c:pt idx="8">
                  <c:v>62760.905861456478</c:v>
                </c:pt>
                <c:pt idx="9">
                  <c:v>62972.493183165388</c:v>
                </c:pt>
                <c:pt idx="10">
                  <c:v>61683.18138707766</c:v>
                </c:pt>
                <c:pt idx="11">
                  <c:v>59796.773104265398</c:v>
                </c:pt>
                <c:pt idx="12">
                  <c:v>61486.688388625589</c:v>
                </c:pt>
                <c:pt idx="13">
                  <c:v>60685.940758293837</c:v>
                </c:pt>
                <c:pt idx="14">
                  <c:v>60191.293072824155</c:v>
                </c:pt>
                <c:pt idx="15">
                  <c:v>60570.461538461539</c:v>
                </c:pt>
                <c:pt idx="16">
                  <c:v>58802.042553191495</c:v>
                </c:pt>
                <c:pt idx="17">
                  <c:v>58870.120353982296</c:v>
                </c:pt>
                <c:pt idx="18">
                  <c:v>59177.397519196682</c:v>
                </c:pt>
                <c:pt idx="19">
                  <c:v>60982.178381571168</c:v>
                </c:pt>
                <c:pt idx="20">
                  <c:v>58913.911399881858</c:v>
                </c:pt>
                <c:pt idx="21">
                  <c:v>58747.468122786297</c:v>
                </c:pt>
                <c:pt idx="22">
                  <c:v>58730.617699115042</c:v>
                </c:pt>
                <c:pt idx="23">
                  <c:v>58765.080635668033</c:v>
                </c:pt>
                <c:pt idx="24">
                  <c:v>59765.677248677246</c:v>
                </c:pt>
                <c:pt idx="25">
                  <c:v>59972.198473282442</c:v>
                </c:pt>
                <c:pt idx="26">
                  <c:v>60263.869871043382</c:v>
                </c:pt>
                <c:pt idx="27">
                  <c:v>60058.97308367466</c:v>
                </c:pt>
                <c:pt idx="28">
                  <c:v>60148.989455184543</c:v>
                </c:pt>
                <c:pt idx="29">
                  <c:v>59224.217213114753</c:v>
                </c:pt>
                <c:pt idx="30">
                  <c:v>60074.673493270915</c:v>
                </c:pt>
                <c:pt idx="31">
                  <c:v>60283.685196021062</c:v>
                </c:pt>
                <c:pt idx="32">
                  <c:v>62386.361403508774</c:v>
                </c:pt>
                <c:pt idx="33">
                  <c:v>62519.461718293394</c:v>
                </c:pt>
                <c:pt idx="34">
                  <c:v>62512.497376093292</c:v>
                </c:pt>
                <c:pt idx="35">
                  <c:v>62330.618658892126</c:v>
                </c:pt>
                <c:pt idx="36">
                  <c:v>62277.681818181816</c:v>
                </c:pt>
                <c:pt idx="37">
                  <c:v>63885.899999999994</c:v>
                </c:pt>
                <c:pt idx="38">
                  <c:v>62424.476798143849</c:v>
                </c:pt>
                <c:pt idx="39">
                  <c:v>63306.264194669762</c:v>
                </c:pt>
                <c:pt idx="40">
                  <c:v>64720.172932330825</c:v>
                </c:pt>
                <c:pt idx="41">
                  <c:v>65462.028851702242</c:v>
                </c:pt>
                <c:pt idx="42">
                  <c:v>65809.457685664936</c:v>
                </c:pt>
                <c:pt idx="43">
                  <c:v>64689.505733944956</c:v>
                </c:pt>
                <c:pt idx="44">
                  <c:v>64392.192329708079</c:v>
                </c:pt>
                <c:pt idx="45">
                  <c:v>64839.849800114222</c:v>
                </c:pt>
                <c:pt idx="46">
                  <c:v>62949.646522234885</c:v>
                </c:pt>
                <c:pt idx="47">
                  <c:v>62813.96412300683</c:v>
                </c:pt>
                <c:pt idx="48">
                  <c:v>63449.66534541337</c:v>
                </c:pt>
                <c:pt idx="49">
                  <c:v>63609.330882352937</c:v>
                </c:pt>
                <c:pt idx="50">
                  <c:v>64069.17354437535</c:v>
                </c:pt>
                <c:pt idx="51">
                  <c:v>63346.802713397396</c:v>
                </c:pt>
                <c:pt idx="52">
                  <c:v>63197.915349887138</c:v>
                </c:pt>
                <c:pt idx="53">
                  <c:v>62435.126410835219</c:v>
                </c:pt>
                <c:pt idx="54">
                  <c:v>61856.263098591546</c:v>
                </c:pt>
                <c:pt idx="55">
                  <c:v>62066.006197183095</c:v>
                </c:pt>
                <c:pt idx="56">
                  <c:v>61220.409116488459</c:v>
                </c:pt>
                <c:pt idx="57">
                  <c:v>61152.021934758144</c:v>
                </c:pt>
                <c:pt idx="58">
                  <c:v>60162.021897810213</c:v>
                </c:pt>
                <c:pt idx="59">
                  <c:v>59144.145985401454</c:v>
                </c:pt>
                <c:pt idx="60">
                  <c:v>58191.147982062779</c:v>
                </c:pt>
                <c:pt idx="61">
                  <c:v>57317.19630872483</c:v>
                </c:pt>
                <c:pt idx="62">
                  <c:v>56667.414197875907</c:v>
                </c:pt>
                <c:pt idx="63">
                  <c:v>51645.232830820773</c:v>
                </c:pt>
                <c:pt idx="64">
                  <c:v>52600.056456120736</c:v>
                </c:pt>
                <c:pt idx="65">
                  <c:v>54458.9111235327</c:v>
                </c:pt>
                <c:pt idx="66">
                  <c:v>55627.36272321429</c:v>
                </c:pt>
                <c:pt idx="67">
                  <c:v>56060.782608695648</c:v>
                </c:pt>
                <c:pt idx="68">
                  <c:v>57314.764607679463</c:v>
                </c:pt>
                <c:pt idx="69">
                  <c:v>58099.935483870955</c:v>
                </c:pt>
                <c:pt idx="70">
                  <c:v>58006.331853496114</c:v>
                </c:pt>
                <c:pt idx="71">
                  <c:v>59233.2389135255</c:v>
                </c:pt>
                <c:pt idx="72">
                  <c:v>60022.702209944749</c:v>
                </c:pt>
                <c:pt idx="73">
                  <c:v>60116.844542447623</c:v>
                </c:pt>
                <c:pt idx="74">
                  <c:v>61139.971962616815</c:v>
                </c:pt>
                <c:pt idx="75">
                  <c:v>62540.455440131213</c:v>
                </c:pt>
                <c:pt idx="76">
                  <c:v>60754.793478260865</c:v>
                </c:pt>
                <c:pt idx="77">
                  <c:v>61091.230603448275</c:v>
                </c:pt>
                <c:pt idx="78">
                  <c:v>61110.560621628552</c:v>
                </c:pt>
                <c:pt idx="79">
                  <c:v>61390.553745928337</c:v>
                </c:pt>
                <c:pt idx="80">
                  <c:v>61151.188799339143</c:v>
                </c:pt>
                <c:pt idx="81">
                  <c:v>61805.432878225867</c:v>
                </c:pt>
                <c:pt idx="82">
                  <c:v>61626.939008190122</c:v>
                </c:pt>
                <c:pt idx="83">
                  <c:v>62312.175138891776</c:v>
                </c:pt>
                <c:pt idx="84">
                  <c:v>60962.3493184896</c:v>
                </c:pt>
                <c:pt idx="85">
                  <c:v>60616.466324096167</c:v>
                </c:pt>
                <c:pt idx="86">
                  <c:v>60912.135875644737</c:v>
                </c:pt>
                <c:pt idx="87">
                  <c:v>60518.901527461814</c:v>
                </c:pt>
                <c:pt idx="88">
                  <c:v>60310.660352068619</c:v>
                </c:pt>
                <c:pt idx="89">
                  <c:v>60116.793746395844</c:v>
                </c:pt>
                <c:pt idx="90">
                  <c:v>60002.473274809941</c:v>
                </c:pt>
                <c:pt idx="91">
                  <c:v>60253.054317399314</c:v>
                </c:pt>
                <c:pt idx="92">
                  <c:v>59272.594492952201</c:v>
                </c:pt>
                <c:pt idx="93">
                  <c:v>59535.796548820734</c:v>
                </c:pt>
                <c:pt idx="94">
                  <c:v>58640.993983454493</c:v>
                </c:pt>
                <c:pt idx="95">
                  <c:v>58812.205388418792</c:v>
                </c:pt>
                <c:pt idx="96">
                  <c:v>58896.60480870145</c:v>
                </c:pt>
                <c:pt idx="97">
                  <c:v>58665.814021036793</c:v>
                </c:pt>
                <c:pt idx="98">
                  <c:v>58078.934190684835</c:v>
                </c:pt>
                <c:pt idx="99">
                  <c:v>58458.352402745986</c:v>
                </c:pt>
                <c:pt idx="100">
                  <c:v>58476.878307128056</c:v>
                </c:pt>
                <c:pt idx="101">
                  <c:v>58183.553599728322</c:v>
                </c:pt>
                <c:pt idx="102">
                  <c:v>57778.004007224285</c:v>
                </c:pt>
                <c:pt idx="103">
                  <c:v>58216.33532934130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4A17-402B-A0B3-EC5DB14F08E2}"/>
            </c:ext>
          </c:extLst>
        </c:ser>
        <c:ser>
          <c:idx val="4"/>
          <c:order val="2"/>
          <c:tx>
            <c:strRef>
              <c:f>WPSFD41312!$K$12</c:f>
              <c:strCache>
                <c:ptCount val="1"/>
                <c:pt idx="0">
                  <c:v>February 2020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/>
          </c:spPr>
          <c:marker>
            <c:symbol val="none"/>
          </c:marker>
          <c:cat>
            <c:numRef>
              <c:f>WPSFD41312!$F$97:$F$200</c:f>
              <c:numCache>
                <c:formatCode>m/d/yyyy</c:formatCode>
                <c:ptCount val="104"/>
                <c:pt idx="0">
                  <c:v>42005</c:v>
                </c:pt>
                <c:pt idx="1">
                  <c:v>42036</c:v>
                </c:pt>
                <c:pt idx="2">
                  <c:v>42064</c:v>
                </c:pt>
                <c:pt idx="3">
                  <c:v>42095</c:v>
                </c:pt>
                <c:pt idx="4">
                  <c:v>42125</c:v>
                </c:pt>
                <c:pt idx="5">
                  <c:v>42156</c:v>
                </c:pt>
                <c:pt idx="6">
                  <c:v>42186</c:v>
                </c:pt>
                <c:pt idx="7">
                  <c:v>42217</c:v>
                </c:pt>
                <c:pt idx="8">
                  <c:v>42248</c:v>
                </c:pt>
                <c:pt idx="9">
                  <c:v>42278</c:v>
                </c:pt>
                <c:pt idx="10">
                  <c:v>42309</c:v>
                </c:pt>
                <c:pt idx="11">
                  <c:v>42339</c:v>
                </c:pt>
                <c:pt idx="12">
                  <c:v>42370</c:v>
                </c:pt>
                <c:pt idx="13">
                  <c:v>42401</c:v>
                </c:pt>
                <c:pt idx="14">
                  <c:v>42430</c:v>
                </c:pt>
                <c:pt idx="15">
                  <c:v>42461</c:v>
                </c:pt>
                <c:pt idx="16">
                  <c:v>42491</c:v>
                </c:pt>
                <c:pt idx="17">
                  <c:v>42522</c:v>
                </c:pt>
                <c:pt idx="18">
                  <c:v>42552</c:v>
                </c:pt>
                <c:pt idx="19">
                  <c:v>42583</c:v>
                </c:pt>
                <c:pt idx="20">
                  <c:v>42614</c:v>
                </c:pt>
                <c:pt idx="21">
                  <c:v>42644</c:v>
                </c:pt>
                <c:pt idx="22">
                  <c:v>42675</c:v>
                </c:pt>
                <c:pt idx="23">
                  <c:v>42705</c:v>
                </c:pt>
                <c:pt idx="24">
                  <c:v>42736</c:v>
                </c:pt>
                <c:pt idx="25">
                  <c:v>42767</c:v>
                </c:pt>
                <c:pt idx="26">
                  <c:v>42795</c:v>
                </c:pt>
                <c:pt idx="27">
                  <c:v>42826</c:v>
                </c:pt>
                <c:pt idx="28">
                  <c:v>42856</c:v>
                </c:pt>
                <c:pt idx="29">
                  <c:v>42887</c:v>
                </c:pt>
                <c:pt idx="30">
                  <c:v>42917</c:v>
                </c:pt>
                <c:pt idx="31">
                  <c:v>42948</c:v>
                </c:pt>
                <c:pt idx="32">
                  <c:v>42979</c:v>
                </c:pt>
                <c:pt idx="33">
                  <c:v>43009</c:v>
                </c:pt>
                <c:pt idx="34">
                  <c:v>43040</c:v>
                </c:pt>
                <c:pt idx="35">
                  <c:v>43070</c:v>
                </c:pt>
                <c:pt idx="36">
                  <c:v>43101</c:v>
                </c:pt>
                <c:pt idx="37">
                  <c:v>43132</c:v>
                </c:pt>
                <c:pt idx="38">
                  <c:v>43160</c:v>
                </c:pt>
                <c:pt idx="39">
                  <c:v>43191</c:v>
                </c:pt>
                <c:pt idx="40">
                  <c:v>43221</c:v>
                </c:pt>
                <c:pt idx="41">
                  <c:v>43252</c:v>
                </c:pt>
                <c:pt idx="42">
                  <c:v>43282</c:v>
                </c:pt>
                <c:pt idx="43">
                  <c:v>43313</c:v>
                </c:pt>
                <c:pt idx="44">
                  <c:v>43344</c:v>
                </c:pt>
                <c:pt idx="45">
                  <c:v>43374</c:v>
                </c:pt>
                <c:pt idx="46">
                  <c:v>43405</c:v>
                </c:pt>
                <c:pt idx="47">
                  <c:v>43435</c:v>
                </c:pt>
                <c:pt idx="48">
                  <c:v>43466</c:v>
                </c:pt>
                <c:pt idx="49">
                  <c:v>43497</c:v>
                </c:pt>
                <c:pt idx="50">
                  <c:v>43525</c:v>
                </c:pt>
                <c:pt idx="51">
                  <c:v>43556</c:v>
                </c:pt>
                <c:pt idx="52">
                  <c:v>43586</c:v>
                </c:pt>
                <c:pt idx="53">
                  <c:v>43617</c:v>
                </c:pt>
                <c:pt idx="54">
                  <c:v>43647</c:v>
                </c:pt>
                <c:pt idx="55">
                  <c:v>43678</c:v>
                </c:pt>
                <c:pt idx="56">
                  <c:v>43709</c:v>
                </c:pt>
                <c:pt idx="57">
                  <c:v>43739</c:v>
                </c:pt>
                <c:pt idx="58">
                  <c:v>43770</c:v>
                </c:pt>
                <c:pt idx="59">
                  <c:v>43800</c:v>
                </c:pt>
                <c:pt idx="60">
                  <c:v>43831</c:v>
                </c:pt>
                <c:pt idx="61">
                  <c:v>43862</c:v>
                </c:pt>
                <c:pt idx="62">
                  <c:v>43891</c:v>
                </c:pt>
                <c:pt idx="63">
                  <c:v>43922</c:v>
                </c:pt>
                <c:pt idx="64">
                  <c:v>43952</c:v>
                </c:pt>
                <c:pt idx="65">
                  <c:v>43983</c:v>
                </c:pt>
                <c:pt idx="66">
                  <c:v>44013</c:v>
                </c:pt>
                <c:pt idx="67">
                  <c:v>44044</c:v>
                </c:pt>
                <c:pt idx="68">
                  <c:v>44075</c:v>
                </c:pt>
                <c:pt idx="69">
                  <c:v>44105</c:v>
                </c:pt>
                <c:pt idx="70">
                  <c:v>44136</c:v>
                </c:pt>
                <c:pt idx="71">
                  <c:v>44166</c:v>
                </c:pt>
                <c:pt idx="72">
                  <c:v>44197</c:v>
                </c:pt>
                <c:pt idx="73">
                  <c:v>44228</c:v>
                </c:pt>
                <c:pt idx="74">
                  <c:v>44256</c:v>
                </c:pt>
                <c:pt idx="75">
                  <c:v>44287</c:v>
                </c:pt>
                <c:pt idx="76">
                  <c:v>44317</c:v>
                </c:pt>
                <c:pt idx="77">
                  <c:v>44348</c:v>
                </c:pt>
                <c:pt idx="78">
                  <c:v>44378</c:v>
                </c:pt>
                <c:pt idx="79">
                  <c:v>44409</c:v>
                </c:pt>
                <c:pt idx="80">
                  <c:v>44440</c:v>
                </c:pt>
                <c:pt idx="81">
                  <c:v>44470</c:v>
                </c:pt>
                <c:pt idx="82">
                  <c:v>44501</c:v>
                </c:pt>
                <c:pt idx="83">
                  <c:v>44531</c:v>
                </c:pt>
                <c:pt idx="84">
                  <c:v>44562</c:v>
                </c:pt>
                <c:pt idx="85">
                  <c:v>44593</c:v>
                </c:pt>
                <c:pt idx="86">
                  <c:v>44621</c:v>
                </c:pt>
                <c:pt idx="87">
                  <c:v>44652</c:v>
                </c:pt>
                <c:pt idx="88">
                  <c:v>44682</c:v>
                </c:pt>
                <c:pt idx="89">
                  <c:v>44713</c:v>
                </c:pt>
                <c:pt idx="90">
                  <c:v>44743</c:v>
                </c:pt>
                <c:pt idx="91">
                  <c:v>44774</c:v>
                </c:pt>
                <c:pt idx="92">
                  <c:v>44805</c:v>
                </c:pt>
                <c:pt idx="93">
                  <c:v>44835</c:v>
                </c:pt>
                <c:pt idx="94">
                  <c:v>44866</c:v>
                </c:pt>
                <c:pt idx="95">
                  <c:v>44896</c:v>
                </c:pt>
                <c:pt idx="96">
                  <c:v>44927</c:v>
                </c:pt>
                <c:pt idx="97">
                  <c:v>44958</c:v>
                </c:pt>
                <c:pt idx="98">
                  <c:v>44986</c:v>
                </c:pt>
                <c:pt idx="99">
                  <c:v>45017</c:v>
                </c:pt>
                <c:pt idx="100">
                  <c:v>45047</c:v>
                </c:pt>
                <c:pt idx="101">
                  <c:v>45078</c:v>
                </c:pt>
                <c:pt idx="102">
                  <c:v>45108</c:v>
                </c:pt>
                <c:pt idx="103">
                  <c:v>45139</c:v>
                </c:pt>
              </c:numCache>
            </c:numRef>
          </c:cat>
          <c:val>
            <c:numRef>
              <c:f>WPSFD41312!$K$97:$K$200</c:f>
              <c:numCache>
                <c:formatCode>General</c:formatCode>
                <c:ptCount val="104"/>
                <c:pt idx="61" formatCode="0.00000000">
                  <c:v>57317.19630872483</c:v>
                </c:pt>
                <c:pt idx="62" formatCode="0.00000000">
                  <c:v>57317.19630872483</c:v>
                </c:pt>
                <c:pt idx="63" formatCode="0.00000000">
                  <c:v>57317.19630872483</c:v>
                </c:pt>
                <c:pt idx="64" formatCode="0.00000000">
                  <c:v>57317.19630872483</c:v>
                </c:pt>
                <c:pt idx="65" formatCode="0.00000000">
                  <c:v>57317.19630872483</c:v>
                </c:pt>
                <c:pt idx="66" formatCode="0.00000000">
                  <c:v>57317.19630872483</c:v>
                </c:pt>
                <c:pt idx="67" formatCode="0.00000000">
                  <c:v>57317.19630872483</c:v>
                </c:pt>
                <c:pt idx="68" formatCode="0.00000000">
                  <c:v>57317.19630872483</c:v>
                </c:pt>
                <c:pt idx="69" formatCode="0.00000000">
                  <c:v>57317.19630872483</c:v>
                </c:pt>
                <c:pt idx="70" formatCode="0.00000000">
                  <c:v>57317.19630872483</c:v>
                </c:pt>
                <c:pt idx="71" formatCode="0.00000000">
                  <c:v>57317.19630872483</c:v>
                </c:pt>
                <c:pt idx="72" formatCode="0.00000000">
                  <c:v>57317.19630872483</c:v>
                </c:pt>
                <c:pt idx="73" formatCode="0.00000000">
                  <c:v>57317.19630872483</c:v>
                </c:pt>
                <c:pt idx="74" formatCode="0.00000000">
                  <c:v>57317.19630872483</c:v>
                </c:pt>
                <c:pt idx="75" formatCode="0.00000000">
                  <c:v>57317.19630872483</c:v>
                </c:pt>
                <c:pt idx="76" formatCode="0.00000000">
                  <c:v>57317.19630872483</c:v>
                </c:pt>
                <c:pt idx="77" formatCode="0.00000000">
                  <c:v>57317.19630872483</c:v>
                </c:pt>
                <c:pt idx="78" formatCode="0.00000000">
                  <c:v>57317.19630872483</c:v>
                </c:pt>
                <c:pt idx="79" formatCode="0.00000000">
                  <c:v>57317.19630872483</c:v>
                </c:pt>
                <c:pt idx="80" formatCode="0.00000000">
                  <c:v>57317.19630872483</c:v>
                </c:pt>
                <c:pt idx="81" formatCode="0.00000000">
                  <c:v>57317.19630872483</c:v>
                </c:pt>
                <c:pt idx="82" formatCode="0.00000000">
                  <c:v>57317.19630872483</c:v>
                </c:pt>
                <c:pt idx="83" formatCode="0.00000000">
                  <c:v>57317.19630872483</c:v>
                </c:pt>
                <c:pt idx="84" formatCode="0.00000000">
                  <c:v>57317.19630872483</c:v>
                </c:pt>
                <c:pt idx="85" formatCode="0.00000000">
                  <c:v>57317.19630872483</c:v>
                </c:pt>
                <c:pt idx="86" formatCode="0.00000000">
                  <c:v>57317.19630872483</c:v>
                </c:pt>
                <c:pt idx="87" formatCode="0.00000000">
                  <c:v>57317.19630872483</c:v>
                </c:pt>
                <c:pt idx="88" formatCode="0.00000000">
                  <c:v>57317.19630872483</c:v>
                </c:pt>
                <c:pt idx="89" formatCode="0.00000000">
                  <c:v>57317.19630872483</c:v>
                </c:pt>
                <c:pt idx="90" formatCode="0.00000000">
                  <c:v>57317.19630872483</c:v>
                </c:pt>
                <c:pt idx="91" formatCode="0.00000000">
                  <c:v>57317.19630872483</c:v>
                </c:pt>
                <c:pt idx="92" formatCode="0.00000000">
                  <c:v>57317.19630872483</c:v>
                </c:pt>
                <c:pt idx="93" formatCode="0.00000000">
                  <c:v>57317.19630872483</c:v>
                </c:pt>
                <c:pt idx="94" formatCode="0.00000000">
                  <c:v>57317.19630872483</c:v>
                </c:pt>
                <c:pt idx="95" formatCode="0.00000000">
                  <c:v>57317.19630872483</c:v>
                </c:pt>
                <c:pt idx="96" formatCode="0.00000000">
                  <c:v>57317.19630872483</c:v>
                </c:pt>
                <c:pt idx="97" formatCode="0.00000000">
                  <c:v>57317.19630872483</c:v>
                </c:pt>
                <c:pt idx="98" formatCode="0.00000000">
                  <c:v>57317.19630872483</c:v>
                </c:pt>
                <c:pt idx="99" formatCode="0.00000000">
                  <c:v>57317.19630872483</c:v>
                </c:pt>
                <c:pt idx="100" formatCode="0.00000000">
                  <c:v>57317.19630872483</c:v>
                </c:pt>
                <c:pt idx="101" formatCode="0.00000000">
                  <c:v>57317.19630872483</c:v>
                </c:pt>
                <c:pt idx="102" formatCode="0.00000000">
                  <c:v>57317.19630872483</c:v>
                </c:pt>
                <c:pt idx="103" formatCode="0.00000000">
                  <c:v>57317.196308724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4A17-402B-A0B3-EC5DB14F08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3741776"/>
        <c:axId val="93510896"/>
      </c:lineChart>
      <c:dateAx>
        <c:axId val="93741776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510896"/>
        <c:crosses val="autoZero"/>
        <c:auto val="1"/>
        <c:lblOffset val="100"/>
        <c:baseTimeUnit val="months"/>
        <c:majorUnit val="12"/>
      </c:dateAx>
      <c:valAx>
        <c:axId val="93510896"/>
        <c:scaling>
          <c:orientation val="minMax"/>
          <c:min val="4500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3741776"/>
        <c:crosses val="autoZero"/>
        <c:crossBetween val="between"/>
        <c:dispUnits>
          <c:builtInUnit val="thousands"/>
          <c:dispUnitsLbl>
            <c:layout>
              <c:manualLayout>
                <c:xMode val="edge"/>
                <c:yMode val="edge"/>
                <c:x val="0"/>
                <c:y val="0.44384555446194224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sz="1600">
                      <a:solidFill>
                        <a:schemeClr val="tx1"/>
                      </a:solidFill>
                    </a:rPr>
                    <a:t>Billions</a:t>
                  </a:r>
                  <a:endParaRPr lang="en-US" sz="1800">
                    <a:solidFill>
                      <a:schemeClr val="tx1"/>
                    </a:solidFill>
                  </a:endParaRP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9.4354482863555106E-2"/>
          <c:y val="0.78439386038844272"/>
          <c:w val="0.42000038038723414"/>
          <c:h val="7.3186132983377075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Index (100 = 2017)</a:t>
            </a:r>
            <a:r>
              <a:rPr lang="en-US" sz="1400" baseline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, seasonally adjusted</a:t>
            </a:r>
            <a:endParaRPr lang="en-US" sz="140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4.7096504241317665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534831583552056E-2"/>
          <c:y val="7.180009562001774E-2"/>
          <c:w val="0.8215470042051195"/>
          <c:h val="0.75983289588801406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Manufacturing!$C$1</c:f>
              <c:strCache>
                <c:ptCount val="1"/>
                <c:pt idx="0">
                  <c:v> Y/Y change (right axis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cat>
            <c:strRef>
              <c:f>Manufacturing!$A$14:$A$201</c:f>
              <c:strCache>
                <c:ptCount val="188"/>
                <c:pt idx="0">
                  <c:v>2008</c:v>
                </c:pt>
                <c:pt idx="1">
                  <c:v>Feb-08</c:v>
                </c:pt>
                <c:pt idx="2">
                  <c:v>Mar-08</c:v>
                </c:pt>
                <c:pt idx="3">
                  <c:v>Apr-08</c:v>
                </c:pt>
                <c:pt idx="4">
                  <c:v>May-08</c:v>
                </c:pt>
                <c:pt idx="5">
                  <c:v>Jun-08</c:v>
                </c:pt>
                <c:pt idx="6">
                  <c:v>Jul-08</c:v>
                </c:pt>
                <c:pt idx="7">
                  <c:v>Aug-08</c:v>
                </c:pt>
                <c:pt idx="8">
                  <c:v>Sep-08</c:v>
                </c:pt>
                <c:pt idx="9">
                  <c:v>Oct-08</c:v>
                </c:pt>
                <c:pt idx="10">
                  <c:v>Nov-08</c:v>
                </c:pt>
                <c:pt idx="11">
                  <c:v>Dec-08</c:v>
                </c:pt>
                <c:pt idx="12">
                  <c:v>2009</c:v>
                </c:pt>
                <c:pt idx="13">
                  <c:v>Feb-09</c:v>
                </c:pt>
                <c:pt idx="14">
                  <c:v>Mar-09</c:v>
                </c:pt>
                <c:pt idx="15">
                  <c:v>Apr-09</c:v>
                </c:pt>
                <c:pt idx="16">
                  <c:v>May-09</c:v>
                </c:pt>
                <c:pt idx="17">
                  <c:v>Jun-09</c:v>
                </c:pt>
                <c:pt idx="18">
                  <c:v>Jul-09</c:v>
                </c:pt>
                <c:pt idx="19">
                  <c:v>Aug-09</c:v>
                </c:pt>
                <c:pt idx="20">
                  <c:v>Sep-09</c:v>
                </c:pt>
                <c:pt idx="21">
                  <c:v>Oct-09</c:v>
                </c:pt>
                <c:pt idx="22">
                  <c:v>Nov-09</c:v>
                </c:pt>
                <c:pt idx="23">
                  <c:v>Dec-09</c:v>
                </c:pt>
                <c:pt idx="24">
                  <c:v>2010</c:v>
                </c:pt>
                <c:pt idx="25">
                  <c:v>Feb-10</c:v>
                </c:pt>
                <c:pt idx="26">
                  <c:v>Mar-10</c:v>
                </c:pt>
                <c:pt idx="27">
                  <c:v>Apr-10</c:v>
                </c:pt>
                <c:pt idx="28">
                  <c:v>May-10</c:v>
                </c:pt>
                <c:pt idx="29">
                  <c:v>Jun-10</c:v>
                </c:pt>
                <c:pt idx="30">
                  <c:v>Jul-10</c:v>
                </c:pt>
                <c:pt idx="31">
                  <c:v>Aug-10</c:v>
                </c:pt>
                <c:pt idx="32">
                  <c:v>Sep-10</c:v>
                </c:pt>
                <c:pt idx="33">
                  <c:v>Oct-10</c:v>
                </c:pt>
                <c:pt idx="34">
                  <c:v>Nov-10</c:v>
                </c:pt>
                <c:pt idx="35">
                  <c:v>Dec-10</c:v>
                </c:pt>
                <c:pt idx="36">
                  <c:v>2011</c:v>
                </c:pt>
                <c:pt idx="37">
                  <c:v>Feb-11</c:v>
                </c:pt>
                <c:pt idx="38">
                  <c:v>Mar-11</c:v>
                </c:pt>
                <c:pt idx="39">
                  <c:v>Apr-11</c:v>
                </c:pt>
                <c:pt idx="40">
                  <c:v>May-11</c:v>
                </c:pt>
                <c:pt idx="41">
                  <c:v>Jun-11</c:v>
                </c:pt>
                <c:pt idx="42">
                  <c:v>Jul-11</c:v>
                </c:pt>
                <c:pt idx="43">
                  <c:v>Aug-11</c:v>
                </c:pt>
                <c:pt idx="44">
                  <c:v>Sep-11</c:v>
                </c:pt>
                <c:pt idx="45">
                  <c:v>Oct-11</c:v>
                </c:pt>
                <c:pt idx="46">
                  <c:v>Nov-11</c:v>
                </c:pt>
                <c:pt idx="47">
                  <c:v>Dec-11</c:v>
                </c:pt>
                <c:pt idx="48">
                  <c:v>2012</c:v>
                </c:pt>
                <c:pt idx="49">
                  <c:v>Feb-12</c:v>
                </c:pt>
                <c:pt idx="50">
                  <c:v>Mar-12</c:v>
                </c:pt>
                <c:pt idx="51">
                  <c:v>Apr-12</c:v>
                </c:pt>
                <c:pt idx="52">
                  <c:v>May-12</c:v>
                </c:pt>
                <c:pt idx="53">
                  <c:v>Jun-12</c:v>
                </c:pt>
                <c:pt idx="54">
                  <c:v>Jul-12</c:v>
                </c:pt>
                <c:pt idx="55">
                  <c:v>Aug-12</c:v>
                </c:pt>
                <c:pt idx="56">
                  <c:v>Sep-12</c:v>
                </c:pt>
                <c:pt idx="57">
                  <c:v>Oct-12</c:v>
                </c:pt>
                <c:pt idx="58">
                  <c:v>Nov-12</c:v>
                </c:pt>
                <c:pt idx="59">
                  <c:v>Dec-12</c:v>
                </c:pt>
                <c:pt idx="60">
                  <c:v>2013</c:v>
                </c:pt>
                <c:pt idx="61">
                  <c:v>Feb-13</c:v>
                </c:pt>
                <c:pt idx="62">
                  <c:v>Mar-13</c:v>
                </c:pt>
                <c:pt idx="63">
                  <c:v>Apr-13</c:v>
                </c:pt>
                <c:pt idx="64">
                  <c:v>May-13</c:v>
                </c:pt>
                <c:pt idx="65">
                  <c:v>Jun-13</c:v>
                </c:pt>
                <c:pt idx="66">
                  <c:v>Jul-13</c:v>
                </c:pt>
                <c:pt idx="67">
                  <c:v>Aug-13</c:v>
                </c:pt>
                <c:pt idx="68">
                  <c:v>Sep-13</c:v>
                </c:pt>
                <c:pt idx="69">
                  <c:v>Oct-13</c:v>
                </c:pt>
                <c:pt idx="70">
                  <c:v>Nov-13</c:v>
                </c:pt>
                <c:pt idx="71">
                  <c:v>Dec-13</c:v>
                </c:pt>
                <c:pt idx="72">
                  <c:v>2014</c:v>
                </c:pt>
                <c:pt idx="73">
                  <c:v>Feb-14</c:v>
                </c:pt>
                <c:pt idx="74">
                  <c:v>Mar-14</c:v>
                </c:pt>
                <c:pt idx="75">
                  <c:v>Apr-14</c:v>
                </c:pt>
                <c:pt idx="76">
                  <c:v>May-14</c:v>
                </c:pt>
                <c:pt idx="77">
                  <c:v>Jun-14</c:v>
                </c:pt>
                <c:pt idx="78">
                  <c:v>Jul-14</c:v>
                </c:pt>
                <c:pt idx="79">
                  <c:v>Aug-14</c:v>
                </c:pt>
                <c:pt idx="80">
                  <c:v>Sep-14</c:v>
                </c:pt>
                <c:pt idx="81">
                  <c:v>Oct-14</c:v>
                </c:pt>
                <c:pt idx="82">
                  <c:v>Nov-14</c:v>
                </c:pt>
                <c:pt idx="83">
                  <c:v>Dec-14</c:v>
                </c:pt>
                <c:pt idx="84">
                  <c:v>2015</c:v>
                </c:pt>
                <c:pt idx="85">
                  <c:v>Feb-15</c:v>
                </c:pt>
                <c:pt idx="86">
                  <c:v>Mar-15</c:v>
                </c:pt>
                <c:pt idx="87">
                  <c:v>Apr-15</c:v>
                </c:pt>
                <c:pt idx="88">
                  <c:v>May-15</c:v>
                </c:pt>
                <c:pt idx="89">
                  <c:v>Jun-15</c:v>
                </c:pt>
                <c:pt idx="90">
                  <c:v>Jul-15</c:v>
                </c:pt>
                <c:pt idx="91">
                  <c:v>Aug-15</c:v>
                </c:pt>
                <c:pt idx="92">
                  <c:v>Sep-15</c:v>
                </c:pt>
                <c:pt idx="93">
                  <c:v>Oct-15</c:v>
                </c:pt>
                <c:pt idx="94">
                  <c:v>Nov-15</c:v>
                </c:pt>
                <c:pt idx="95">
                  <c:v>Dec-15</c:v>
                </c:pt>
                <c:pt idx="96">
                  <c:v>2016</c:v>
                </c:pt>
                <c:pt idx="97">
                  <c:v>16-Feb</c:v>
                </c:pt>
                <c:pt idx="98">
                  <c:v>16-Mar</c:v>
                </c:pt>
                <c:pt idx="99">
                  <c:v>16-Apr</c:v>
                </c:pt>
                <c:pt idx="100">
                  <c:v>16-May</c:v>
                </c:pt>
                <c:pt idx="101">
                  <c:v>16-Jun</c:v>
                </c:pt>
                <c:pt idx="102">
                  <c:v>16-Jul</c:v>
                </c:pt>
                <c:pt idx="103">
                  <c:v>16-Aug</c:v>
                </c:pt>
                <c:pt idx="104">
                  <c:v>16-Sep</c:v>
                </c:pt>
                <c:pt idx="105">
                  <c:v>16-Oct</c:v>
                </c:pt>
                <c:pt idx="106">
                  <c:v>16-Nov</c:v>
                </c:pt>
                <c:pt idx="107">
                  <c:v>16-Dec</c:v>
                </c:pt>
                <c:pt idx="108">
                  <c:v>2017</c:v>
                </c:pt>
                <c:pt idx="109">
                  <c:v>17-Feb</c:v>
                </c:pt>
                <c:pt idx="110">
                  <c:v>17-Mar</c:v>
                </c:pt>
                <c:pt idx="111">
                  <c:v>17-Apr</c:v>
                </c:pt>
                <c:pt idx="112">
                  <c:v>17-May</c:v>
                </c:pt>
                <c:pt idx="113">
                  <c:v>17-Jun</c:v>
                </c:pt>
                <c:pt idx="114">
                  <c:v>17-Jul</c:v>
                </c:pt>
                <c:pt idx="115">
                  <c:v>17-Aug</c:v>
                </c:pt>
                <c:pt idx="116">
                  <c:v>17-Sep</c:v>
                </c:pt>
                <c:pt idx="117">
                  <c:v>17-Oct</c:v>
                </c:pt>
                <c:pt idx="118">
                  <c:v>17-Nov</c:v>
                </c:pt>
                <c:pt idx="119">
                  <c:v>17-Dec</c:v>
                </c:pt>
                <c:pt idx="120">
                  <c:v>2018</c:v>
                </c:pt>
                <c:pt idx="121">
                  <c:v>18-Feb</c:v>
                </c:pt>
                <c:pt idx="122">
                  <c:v>18-Mar</c:v>
                </c:pt>
                <c:pt idx="123">
                  <c:v>18-Apr</c:v>
                </c:pt>
                <c:pt idx="124">
                  <c:v>18-May</c:v>
                </c:pt>
                <c:pt idx="125">
                  <c:v>18-Jun</c:v>
                </c:pt>
                <c:pt idx="126">
                  <c:v>18-Jul</c:v>
                </c:pt>
                <c:pt idx="127">
                  <c:v>18-Aug</c:v>
                </c:pt>
                <c:pt idx="128">
                  <c:v>18-Sep</c:v>
                </c:pt>
                <c:pt idx="129">
                  <c:v>18-Oct</c:v>
                </c:pt>
                <c:pt idx="130">
                  <c:v>18-Nov</c:v>
                </c:pt>
                <c:pt idx="131">
                  <c:v>18-Dec</c:v>
                </c:pt>
                <c:pt idx="132">
                  <c:v>2019</c:v>
                </c:pt>
                <c:pt idx="133">
                  <c:v>19-Feb</c:v>
                </c:pt>
                <c:pt idx="134">
                  <c:v>19-Mar</c:v>
                </c:pt>
                <c:pt idx="135">
                  <c:v>19-Apr</c:v>
                </c:pt>
                <c:pt idx="136">
                  <c:v>19-May</c:v>
                </c:pt>
                <c:pt idx="137">
                  <c:v>19-Jun</c:v>
                </c:pt>
                <c:pt idx="138">
                  <c:v>19-Jul</c:v>
                </c:pt>
                <c:pt idx="139">
                  <c:v>19-Aug</c:v>
                </c:pt>
                <c:pt idx="140">
                  <c:v>19-Sep</c:v>
                </c:pt>
                <c:pt idx="141">
                  <c:v>19-Oct</c:v>
                </c:pt>
                <c:pt idx="142">
                  <c:v>19-Nov</c:v>
                </c:pt>
                <c:pt idx="143">
                  <c:v>19-Dec</c:v>
                </c:pt>
                <c:pt idx="144">
                  <c:v>2020</c:v>
                </c:pt>
                <c:pt idx="145">
                  <c:v>20-Feb</c:v>
                </c:pt>
                <c:pt idx="146">
                  <c:v>20-Mar</c:v>
                </c:pt>
                <c:pt idx="147">
                  <c:v>20-Apr</c:v>
                </c:pt>
                <c:pt idx="148">
                  <c:v>20-May</c:v>
                </c:pt>
                <c:pt idx="149">
                  <c:v>20-Jun</c:v>
                </c:pt>
                <c:pt idx="150">
                  <c:v>20-Jul</c:v>
                </c:pt>
                <c:pt idx="151">
                  <c:v>20-Aug</c:v>
                </c:pt>
                <c:pt idx="152">
                  <c:v>20-Sep</c:v>
                </c:pt>
                <c:pt idx="153">
                  <c:v>20-Oct</c:v>
                </c:pt>
                <c:pt idx="154">
                  <c:v>20-Nov</c:v>
                </c:pt>
                <c:pt idx="155">
                  <c:v>20-Dec</c:v>
                </c:pt>
                <c:pt idx="156">
                  <c:v>2021</c:v>
                </c:pt>
                <c:pt idx="157">
                  <c:v>21-Feb</c:v>
                </c:pt>
                <c:pt idx="158">
                  <c:v>21-Mar</c:v>
                </c:pt>
                <c:pt idx="159">
                  <c:v>21-Apr</c:v>
                </c:pt>
                <c:pt idx="160">
                  <c:v>21-May</c:v>
                </c:pt>
                <c:pt idx="161">
                  <c:v>21-Jun</c:v>
                </c:pt>
                <c:pt idx="162">
                  <c:v>21-Jul</c:v>
                </c:pt>
                <c:pt idx="163">
                  <c:v>21-Aug</c:v>
                </c:pt>
                <c:pt idx="164">
                  <c:v>21-Sep</c:v>
                </c:pt>
                <c:pt idx="165">
                  <c:v>21-Oct</c:v>
                </c:pt>
                <c:pt idx="166">
                  <c:v>21-Nov</c:v>
                </c:pt>
                <c:pt idx="167">
                  <c:v>21-Dec</c:v>
                </c:pt>
                <c:pt idx="168">
                  <c:v>2022</c:v>
                </c:pt>
                <c:pt idx="169">
                  <c:v>22-Feb</c:v>
                </c:pt>
                <c:pt idx="170">
                  <c:v>22-Mar</c:v>
                </c:pt>
                <c:pt idx="171">
                  <c:v>22-Apr</c:v>
                </c:pt>
                <c:pt idx="172">
                  <c:v>22-May</c:v>
                </c:pt>
                <c:pt idx="173">
                  <c:v>22-Jun</c:v>
                </c:pt>
                <c:pt idx="174">
                  <c:v>22-Jul</c:v>
                </c:pt>
                <c:pt idx="175">
                  <c:v>22-Aug</c:v>
                </c:pt>
                <c:pt idx="176">
                  <c:v>22-Sep</c:v>
                </c:pt>
                <c:pt idx="177">
                  <c:v>22-Oct</c:v>
                </c:pt>
                <c:pt idx="178">
                  <c:v>22-Nov</c:v>
                </c:pt>
                <c:pt idx="179">
                  <c:v>22-Dec</c:v>
                </c:pt>
                <c:pt idx="180">
                  <c:v>2023</c:v>
                </c:pt>
                <c:pt idx="181">
                  <c:v>23-Feb</c:v>
                </c:pt>
                <c:pt idx="182">
                  <c:v>23-Mar</c:v>
                </c:pt>
                <c:pt idx="183">
                  <c:v>23-Apr</c:v>
                </c:pt>
                <c:pt idx="184">
                  <c:v>23-May</c:v>
                </c:pt>
                <c:pt idx="185">
                  <c:v>23-Jun</c:v>
                </c:pt>
                <c:pt idx="186">
                  <c:v>23-Jul</c:v>
                </c:pt>
                <c:pt idx="187">
                  <c:v>23-Aug</c:v>
                </c:pt>
              </c:strCache>
            </c:strRef>
          </c:cat>
          <c:val>
            <c:numRef>
              <c:f>Manufacturing!$C$14:$C$201</c:f>
              <c:numCache>
                <c:formatCode>0.0%</c:formatCode>
                <c:ptCount val="188"/>
                <c:pt idx="0">
                  <c:v>2.2861270473979057E-2</c:v>
                </c:pt>
                <c:pt idx="1">
                  <c:v>1.247992010439194E-2</c:v>
                </c:pt>
                <c:pt idx="2">
                  <c:v>-2.7103436996161535E-5</c:v>
                </c:pt>
                <c:pt idx="3">
                  <c:v>-1.6491369822938584E-2</c:v>
                </c:pt>
                <c:pt idx="4">
                  <c:v>-2.16284750753854E-2</c:v>
                </c:pt>
                <c:pt idx="5">
                  <c:v>-3.1829582526853556E-2</c:v>
                </c:pt>
                <c:pt idx="6">
                  <c:v>-4.1700929952709784E-2</c:v>
                </c:pt>
                <c:pt idx="7">
                  <c:v>-5.1227595133508573E-2</c:v>
                </c:pt>
                <c:pt idx="8">
                  <c:v>-8.6356981997643106E-2</c:v>
                </c:pt>
                <c:pt idx="9">
                  <c:v>-9.0642693673745417E-2</c:v>
                </c:pt>
                <c:pt idx="10">
                  <c:v>-0.1177232055409156</c:v>
                </c:pt>
                <c:pt idx="11">
                  <c:v>-0.14877170582933505</c:v>
                </c:pt>
                <c:pt idx="12">
                  <c:v>-0.17455983376838496</c:v>
                </c:pt>
                <c:pt idx="13">
                  <c:v>-0.16993926287255806</c:v>
                </c:pt>
                <c:pt idx="14">
                  <c:v>-0.18141943612107536</c:v>
                </c:pt>
                <c:pt idx="15">
                  <c:v>-0.17864697239251054</c:v>
                </c:pt>
                <c:pt idx="16">
                  <c:v>-0.1820545805559145</c:v>
                </c:pt>
                <c:pt idx="17">
                  <c:v>-0.17786331280875387</c:v>
                </c:pt>
                <c:pt idx="18">
                  <c:v>-0.15565902661955963</c:v>
                </c:pt>
                <c:pt idx="19">
                  <c:v>-0.13495840618458096</c:v>
                </c:pt>
                <c:pt idx="20">
                  <c:v>-9.5228720629811373E-2</c:v>
                </c:pt>
                <c:pt idx="21">
                  <c:v>-8.8739767022618474E-2</c:v>
                </c:pt>
                <c:pt idx="22">
                  <c:v>-5.6315696322105535E-2</c:v>
                </c:pt>
                <c:pt idx="23">
                  <c:v>-2.4945893486301871E-2</c:v>
                </c:pt>
                <c:pt idx="24">
                  <c:v>1.7573072762577052E-2</c:v>
                </c:pt>
                <c:pt idx="25">
                  <c:v>1.7870895921453678E-2</c:v>
                </c:pt>
                <c:pt idx="26">
                  <c:v>4.988256947354372E-2</c:v>
                </c:pt>
                <c:pt idx="27">
                  <c:v>6.5711431209135807E-2</c:v>
                </c:pt>
                <c:pt idx="28">
                  <c:v>9.056389872659025E-2</c:v>
                </c:pt>
                <c:pt idx="29">
                  <c:v>9.2688389331743962E-2</c:v>
                </c:pt>
                <c:pt idx="30">
                  <c:v>8.1126292572541614E-2</c:v>
                </c:pt>
                <c:pt idx="31">
                  <c:v>7.0422822441765634E-2</c:v>
                </c:pt>
                <c:pt idx="32">
                  <c:v>6.0490401482285662E-2</c:v>
                </c:pt>
                <c:pt idx="33">
                  <c:v>6.0469657009828655E-2</c:v>
                </c:pt>
                <c:pt idx="34">
                  <c:v>5.135097043257468E-2</c:v>
                </c:pt>
                <c:pt idx="35">
                  <c:v>5.8131664034304892E-2</c:v>
                </c:pt>
                <c:pt idx="36">
                  <c:v>4.8283990329116053E-2</c:v>
                </c:pt>
                <c:pt idx="37">
                  <c:v>5.0563357013051431E-2</c:v>
                </c:pt>
                <c:pt idx="38">
                  <c:v>4.4073794541970551E-2</c:v>
                </c:pt>
                <c:pt idx="39">
                  <c:v>2.9786646442830796E-2</c:v>
                </c:pt>
                <c:pt idx="40">
                  <c:v>1.6696400517635421E-2</c:v>
                </c:pt>
                <c:pt idx="41">
                  <c:v>1.8034554244283133E-2</c:v>
                </c:pt>
                <c:pt idx="42">
                  <c:v>1.8584539731660184E-2</c:v>
                </c:pt>
                <c:pt idx="43">
                  <c:v>2.1773966498659068E-2</c:v>
                </c:pt>
                <c:pt idx="44">
                  <c:v>2.3670347498596055E-2</c:v>
                </c:pt>
                <c:pt idx="45">
                  <c:v>2.8502335295354956E-2</c:v>
                </c:pt>
                <c:pt idx="46">
                  <c:v>2.5210979928538525E-2</c:v>
                </c:pt>
                <c:pt idx="47">
                  <c:v>2.6986344537815038E-2</c:v>
                </c:pt>
                <c:pt idx="48">
                  <c:v>3.5174887647585446E-2</c:v>
                </c:pt>
                <c:pt idx="49">
                  <c:v>3.8289726259331795E-2</c:v>
                </c:pt>
                <c:pt idx="50">
                  <c:v>2.5978774088513745E-2</c:v>
                </c:pt>
                <c:pt idx="51">
                  <c:v>3.7000953308819792E-2</c:v>
                </c:pt>
                <c:pt idx="52">
                  <c:v>3.3316885982142455E-2</c:v>
                </c:pt>
                <c:pt idx="53">
                  <c:v>3.5030404122110399E-2</c:v>
                </c:pt>
                <c:pt idx="54">
                  <c:v>2.6784488032662115E-2</c:v>
                </c:pt>
                <c:pt idx="55">
                  <c:v>2.1139045132954067E-2</c:v>
                </c:pt>
                <c:pt idx="56">
                  <c:v>1.6135797749790841E-2</c:v>
                </c:pt>
                <c:pt idx="57">
                  <c:v>8.5952111807624867E-3</c:v>
                </c:pt>
                <c:pt idx="58">
                  <c:v>1.6870030239413452E-2</c:v>
                </c:pt>
                <c:pt idx="59">
                  <c:v>1.7380747086758578E-2</c:v>
                </c:pt>
                <c:pt idx="60">
                  <c:v>6.3483049214575222E-3</c:v>
                </c:pt>
                <c:pt idx="61">
                  <c:v>6.0289867949942294E-3</c:v>
                </c:pt>
                <c:pt idx="62">
                  <c:v>1.0617323557300856E-2</c:v>
                </c:pt>
                <c:pt idx="63">
                  <c:v>2.24368364161672E-3</c:v>
                </c:pt>
                <c:pt idx="64">
                  <c:v>9.1092132316264434E-3</c:v>
                </c:pt>
                <c:pt idx="65">
                  <c:v>8.4783890049873415E-3</c:v>
                </c:pt>
                <c:pt idx="66">
                  <c:v>2.7126468928184342E-3</c:v>
                </c:pt>
                <c:pt idx="67">
                  <c:v>1.2475438156905787E-2</c:v>
                </c:pt>
                <c:pt idx="68">
                  <c:v>1.574230728560852E-2</c:v>
                </c:pt>
                <c:pt idx="69">
                  <c:v>1.9195813600906404E-2</c:v>
                </c:pt>
                <c:pt idx="70">
                  <c:v>1.2481344303658989E-2</c:v>
                </c:pt>
                <c:pt idx="71">
                  <c:v>3.6604590000441691E-3</c:v>
                </c:pt>
                <c:pt idx="72">
                  <c:v>-4.6304227339145016E-3</c:v>
                </c:pt>
                <c:pt idx="73">
                  <c:v>6.0119254922702048E-4</c:v>
                </c:pt>
                <c:pt idx="74">
                  <c:v>1.0465597537601103E-2</c:v>
                </c:pt>
                <c:pt idx="75">
                  <c:v>1.3529736087998161E-2</c:v>
                </c:pt>
                <c:pt idx="76">
                  <c:v>1.3191352982722667E-2</c:v>
                </c:pt>
                <c:pt idx="77">
                  <c:v>1.4178602470804162E-2</c:v>
                </c:pt>
                <c:pt idx="78">
                  <c:v>2.6677149694402307E-2</c:v>
                </c:pt>
                <c:pt idx="79">
                  <c:v>1.2170428074042465E-2</c:v>
                </c:pt>
                <c:pt idx="80">
                  <c:v>1.1361236262663825E-2</c:v>
                </c:pt>
                <c:pt idx="81">
                  <c:v>8.8443113293558279E-3</c:v>
                </c:pt>
                <c:pt idx="82">
                  <c:v>1.6065626559435789E-2</c:v>
                </c:pt>
                <c:pt idx="83">
                  <c:v>1.5547041294167832E-2</c:v>
                </c:pt>
                <c:pt idx="84">
                  <c:v>2.0602274855607016E-2</c:v>
                </c:pt>
                <c:pt idx="85">
                  <c:v>3.3782970494065576E-3</c:v>
                </c:pt>
                <c:pt idx="86">
                  <c:v>-1.7815423464265629E-3</c:v>
                </c:pt>
                <c:pt idx="87">
                  <c:v>-1.7642367140245042E-3</c:v>
                </c:pt>
                <c:pt idx="88">
                  <c:v>-4.5553749755820622E-3</c:v>
                </c:pt>
                <c:pt idx="89">
                  <c:v>-1.1265954418207458E-2</c:v>
                </c:pt>
                <c:pt idx="90">
                  <c:v>-8.2298653258971732E-3</c:v>
                </c:pt>
                <c:pt idx="91">
                  <c:v>-5.6532128581638615E-3</c:v>
                </c:pt>
                <c:pt idx="92">
                  <c:v>-8.6355273016278569E-3</c:v>
                </c:pt>
                <c:pt idx="93">
                  <c:v>-8.5745344353817289E-3</c:v>
                </c:pt>
                <c:pt idx="94">
                  <c:v>-1.801823969071651E-2</c:v>
                </c:pt>
                <c:pt idx="95">
                  <c:v>-1.8611307831761542E-2</c:v>
                </c:pt>
                <c:pt idx="96">
                  <c:v>-9.0149339602521496E-3</c:v>
                </c:pt>
                <c:pt idx="97">
                  <c:v>-4.9984005118362124E-3</c:v>
                </c:pt>
                <c:pt idx="98">
                  <c:v>-9.3488752865812947E-3</c:v>
                </c:pt>
                <c:pt idx="99">
                  <c:v>-1.0688810074121344E-2</c:v>
                </c:pt>
                <c:pt idx="100">
                  <c:v>-1.1448522490125828E-2</c:v>
                </c:pt>
                <c:pt idx="101">
                  <c:v>-5.5277009902672267E-3</c:v>
                </c:pt>
                <c:pt idx="102">
                  <c:v>-1.2370319569897112E-2</c:v>
                </c:pt>
                <c:pt idx="103">
                  <c:v>-1.276740623049423E-2</c:v>
                </c:pt>
                <c:pt idx="104">
                  <c:v>-8.0408451772900121E-3</c:v>
                </c:pt>
                <c:pt idx="105">
                  <c:v>-5.4622797846673237E-3</c:v>
                </c:pt>
                <c:pt idx="106">
                  <c:v>-3.4117822753701441E-3</c:v>
                </c:pt>
                <c:pt idx="107">
                  <c:v>-3.6684265063403014E-4</c:v>
                </c:pt>
                <c:pt idx="108">
                  <c:v>-2.7336872145318791E-3</c:v>
                </c:pt>
                <c:pt idx="109">
                  <c:v>9.5446690511621671E-5</c:v>
                </c:pt>
                <c:pt idx="110">
                  <c:v>-2.9044195634624036E-3</c:v>
                </c:pt>
                <c:pt idx="111">
                  <c:v>9.7902280996263035E-3</c:v>
                </c:pt>
                <c:pt idx="112">
                  <c:v>9.0236519439898591E-3</c:v>
                </c:pt>
                <c:pt idx="113">
                  <c:v>7.1709630785376744E-3</c:v>
                </c:pt>
                <c:pt idx="114">
                  <c:v>2.9856025822296889E-3</c:v>
                </c:pt>
                <c:pt idx="115">
                  <c:v>4.4913410091501392E-3</c:v>
                </c:pt>
                <c:pt idx="116">
                  <c:v>2.807015424997708E-3</c:v>
                </c:pt>
                <c:pt idx="117">
                  <c:v>1.1929252597652517E-2</c:v>
                </c:pt>
                <c:pt idx="118">
                  <c:v>1.3496728903818193E-2</c:v>
                </c:pt>
                <c:pt idx="119">
                  <c:v>1.0775056001737287E-2</c:v>
                </c:pt>
                <c:pt idx="120">
                  <c:v>4.8941769732787615E-3</c:v>
                </c:pt>
                <c:pt idx="121">
                  <c:v>1.6050591964155685E-2</c:v>
                </c:pt>
                <c:pt idx="122">
                  <c:v>1.867812325443996E-2</c:v>
                </c:pt>
                <c:pt idx="123">
                  <c:v>1.4351490347074466E-2</c:v>
                </c:pt>
                <c:pt idx="124">
                  <c:v>7.0385191147524871E-3</c:v>
                </c:pt>
                <c:pt idx="125">
                  <c:v>1.2983124034899882E-2</c:v>
                </c:pt>
                <c:pt idx="126">
                  <c:v>1.7139908624559039E-2</c:v>
                </c:pt>
                <c:pt idx="127">
                  <c:v>2.238440379866281E-2</c:v>
                </c:pt>
                <c:pt idx="128">
                  <c:v>2.2244726111056955E-2</c:v>
                </c:pt>
                <c:pt idx="129">
                  <c:v>6.758347129763336E-3</c:v>
                </c:pt>
                <c:pt idx="130">
                  <c:v>3.2697088024132921E-3</c:v>
                </c:pt>
                <c:pt idx="131">
                  <c:v>8.8180088309399024E-3</c:v>
                </c:pt>
                <c:pt idx="132">
                  <c:v>4.2390741957844128E-3</c:v>
                </c:pt>
                <c:pt idx="133">
                  <c:v>-1.0837538758463652E-2</c:v>
                </c:pt>
                <c:pt idx="134">
                  <c:v>-1.2853264339169472E-2</c:v>
                </c:pt>
                <c:pt idx="135">
                  <c:v>-2.5403482692716074E-2</c:v>
                </c:pt>
                <c:pt idx="136">
                  <c:v>-1.6472711586233615E-2</c:v>
                </c:pt>
                <c:pt idx="137">
                  <c:v>-1.8562422278848158E-2</c:v>
                </c:pt>
                <c:pt idx="138">
                  <c:v>-2.5601194656747865E-2</c:v>
                </c:pt>
                <c:pt idx="139">
                  <c:v>-2.2269396860682737E-2</c:v>
                </c:pt>
                <c:pt idx="140">
                  <c:v>-2.8692190253648584E-2</c:v>
                </c:pt>
                <c:pt idx="141">
                  <c:v>-3.3210747079040565E-2</c:v>
                </c:pt>
                <c:pt idx="142">
                  <c:v>-2.2221892525444251E-2</c:v>
                </c:pt>
                <c:pt idx="143">
                  <c:v>-2.421923221789913E-2</c:v>
                </c:pt>
                <c:pt idx="144">
                  <c:v>-1.7694344374312432E-2</c:v>
                </c:pt>
                <c:pt idx="145">
                  <c:v>-1.103024596398949E-2</c:v>
                </c:pt>
                <c:pt idx="146">
                  <c:v>-5.3894304956880378E-2</c:v>
                </c:pt>
                <c:pt idx="147">
                  <c:v>-0.1953969767125153</c:v>
                </c:pt>
                <c:pt idx="148">
                  <c:v>-0.16055612915715517</c:v>
                </c:pt>
                <c:pt idx="149">
                  <c:v>-9.9630725857623739E-2</c:v>
                </c:pt>
                <c:pt idx="150">
                  <c:v>-6.1002004656302046E-2</c:v>
                </c:pt>
                <c:pt idx="151">
                  <c:v>-5.3322192741609938E-2</c:v>
                </c:pt>
                <c:pt idx="152">
                  <c:v>-4.6832593592914688E-2</c:v>
                </c:pt>
                <c:pt idx="153">
                  <c:v>-2.9941573932545713E-2</c:v>
                </c:pt>
                <c:pt idx="154">
                  <c:v>-3.2623110514959676E-2</c:v>
                </c:pt>
                <c:pt idx="155">
                  <c:v>-2.7641615915427083E-2</c:v>
                </c:pt>
                <c:pt idx="156">
                  <c:v>-1.5517164565985149E-2</c:v>
                </c:pt>
                <c:pt idx="157">
                  <c:v>-5.5902793219297343E-2</c:v>
                </c:pt>
                <c:pt idx="158">
                  <c:v>1.9735266376286326E-2</c:v>
                </c:pt>
                <c:pt idx="159">
                  <c:v>0.20784421400514283</c:v>
                </c:pt>
                <c:pt idx="160">
                  <c:v>0.16943427818489529</c:v>
                </c:pt>
                <c:pt idx="161">
                  <c:v>8.5057009840818543E-2</c:v>
                </c:pt>
                <c:pt idx="162">
                  <c:v>5.8241661229859479E-2</c:v>
                </c:pt>
                <c:pt idx="163">
                  <c:v>3.9780960726113923E-2</c:v>
                </c:pt>
                <c:pt idx="164">
                  <c:v>3.0153375631906995E-2</c:v>
                </c:pt>
                <c:pt idx="165">
                  <c:v>3.5457106252458785E-2</c:v>
                </c:pt>
                <c:pt idx="166">
                  <c:v>3.8209247390760252E-2</c:v>
                </c:pt>
                <c:pt idx="167">
                  <c:v>3.1257144519867518E-2</c:v>
                </c:pt>
                <c:pt idx="168">
                  <c:v>1.48638627735935E-2</c:v>
                </c:pt>
                <c:pt idx="169">
                  <c:v>6.8716370869491533E-2</c:v>
                </c:pt>
                <c:pt idx="170">
                  <c:v>4.5853720385944152E-2</c:v>
                </c:pt>
                <c:pt idx="171">
                  <c:v>4.5995110988857009E-2</c:v>
                </c:pt>
                <c:pt idx="172">
                  <c:v>3.1073048831717881E-2</c:v>
                </c:pt>
                <c:pt idx="173">
                  <c:v>2.7258563776653252E-2</c:v>
                </c:pt>
                <c:pt idx="174">
                  <c:v>1.9234916862674981E-2</c:v>
                </c:pt>
                <c:pt idx="175">
                  <c:v>2.4106219176013834E-2</c:v>
                </c:pt>
                <c:pt idx="176">
                  <c:v>3.5823074222807401E-2</c:v>
                </c:pt>
                <c:pt idx="177">
                  <c:v>2.3504505758288861E-2</c:v>
                </c:pt>
                <c:pt idx="178">
                  <c:v>7.2367208438710627E-3</c:v>
                </c:pt>
                <c:pt idx="179">
                  <c:v>-1.3406506145992231E-2</c:v>
                </c:pt>
                <c:pt idx="180">
                  <c:v>8.7114881990548731E-3</c:v>
                </c:pt>
                <c:pt idx="181">
                  <c:v>5.4093419335193924E-4</c:v>
                </c:pt>
                <c:pt idx="182">
                  <c:v>-1.5506795464324478E-2</c:v>
                </c:pt>
                <c:pt idx="183">
                  <c:v>-8.6692812117939947E-3</c:v>
                </c:pt>
                <c:pt idx="184">
                  <c:v>-7.2161313009158909E-3</c:v>
                </c:pt>
                <c:pt idx="185">
                  <c:v>-7.164037551921988E-3</c:v>
                </c:pt>
                <c:pt idx="186">
                  <c:v>-5.9199947297973749E-3</c:v>
                </c:pt>
                <c:pt idx="187">
                  <c:v>-6.4894051544646739E-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2ED-499D-BFB5-A72052AAF9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69892304"/>
        <c:axId val="969897296"/>
      </c:barChart>
      <c:lineChart>
        <c:grouping val="standard"/>
        <c:varyColors val="0"/>
        <c:ser>
          <c:idx val="0"/>
          <c:order val="0"/>
          <c:tx>
            <c:strRef>
              <c:f>Manufacturing!$B$1</c:f>
              <c:strCache>
                <c:ptCount val="1"/>
                <c:pt idx="0">
                  <c:v> Index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Manufacturing!$A$14:$A$201</c:f>
              <c:strCache>
                <c:ptCount val="188"/>
                <c:pt idx="0">
                  <c:v>2008</c:v>
                </c:pt>
                <c:pt idx="1">
                  <c:v>Feb-08</c:v>
                </c:pt>
                <c:pt idx="2">
                  <c:v>Mar-08</c:v>
                </c:pt>
                <c:pt idx="3">
                  <c:v>Apr-08</c:v>
                </c:pt>
                <c:pt idx="4">
                  <c:v>May-08</c:v>
                </c:pt>
                <c:pt idx="5">
                  <c:v>Jun-08</c:v>
                </c:pt>
                <c:pt idx="6">
                  <c:v>Jul-08</c:v>
                </c:pt>
                <c:pt idx="7">
                  <c:v>Aug-08</c:v>
                </c:pt>
                <c:pt idx="8">
                  <c:v>Sep-08</c:v>
                </c:pt>
                <c:pt idx="9">
                  <c:v>Oct-08</c:v>
                </c:pt>
                <c:pt idx="10">
                  <c:v>Nov-08</c:v>
                </c:pt>
                <c:pt idx="11">
                  <c:v>Dec-08</c:v>
                </c:pt>
                <c:pt idx="12">
                  <c:v>2009</c:v>
                </c:pt>
                <c:pt idx="13">
                  <c:v>Feb-09</c:v>
                </c:pt>
                <c:pt idx="14">
                  <c:v>Mar-09</c:v>
                </c:pt>
                <c:pt idx="15">
                  <c:v>Apr-09</c:v>
                </c:pt>
                <c:pt idx="16">
                  <c:v>May-09</c:v>
                </c:pt>
                <c:pt idx="17">
                  <c:v>Jun-09</c:v>
                </c:pt>
                <c:pt idx="18">
                  <c:v>Jul-09</c:v>
                </c:pt>
                <c:pt idx="19">
                  <c:v>Aug-09</c:v>
                </c:pt>
                <c:pt idx="20">
                  <c:v>Sep-09</c:v>
                </c:pt>
                <c:pt idx="21">
                  <c:v>Oct-09</c:v>
                </c:pt>
                <c:pt idx="22">
                  <c:v>Nov-09</c:v>
                </c:pt>
                <c:pt idx="23">
                  <c:v>Dec-09</c:v>
                </c:pt>
                <c:pt idx="24">
                  <c:v>2010</c:v>
                </c:pt>
                <c:pt idx="25">
                  <c:v>Feb-10</c:v>
                </c:pt>
                <c:pt idx="26">
                  <c:v>Mar-10</c:v>
                </c:pt>
                <c:pt idx="27">
                  <c:v>Apr-10</c:v>
                </c:pt>
                <c:pt idx="28">
                  <c:v>May-10</c:v>
                </c:pt>
                <c:pt idx="29">
                  <c:v>Jun-10</c:v>
                </c:pt>
                <c:pt idx="30">
                  <c:v>Jul-10</c:v>
                </c:pt>
                <c:pt idx="31">
                  <c:v>Aug-10</c:v>
                </c:pt>
                <c:pt idx="32">
                  <c:v>Sep-10</c:v>
                </c:pt>
                <c:pt idx="33">
                  <c:v>Oct-10</c:v>
                </c:pt>
                <c:pt idx="34">
                  <c:v>Nov-10</c:v>
                </c:pt>
                <c:pt idx="35">
                  <c:v>Dec-10</c:v>
                </c:pt>
                <c:pt idx="36">
                  <c:v>2011</c:v>
                </c:pt>
                <c:pt idx="37">
                  <c:v>Feb-11</c:v>
                </c:pt>
                <c:pt idx="38">
                  <c:v>Mar-11</c:v>
                </c:pt>
                <c:pt idx="39">
                  <c:v>Apr-11</c:v>
                </c:pt>
                <c:pt idx="40">
                  <c:v>May-11</c:v>
                </c:pt>
                <c:pt idx="41">
                  <c:v>Jun-11</c:v>
                </c:pt>
                <c:pt idx="42">
                  <c:v>Jul-11</c:v>
                </c:pt>
                <c:pt idx="43">
                  <c:v>Aug-11</c:v>
                </c:pt>
                <c:pt idx="44">
                  <c:v>Sep-11</c:v>
                </c:pt>
                <c:pt idx="45">
                  <c:v>Oct-11</c:v>
                </c:pt>
                <c:pt idx="46">
                  <c:v>Nov-11</c:v>
                </c:pt>
                <c:pt idx="47">
                  <c:v>Dec-11</c:v>
                </c:pt>
                <c:pt idx="48">
                  <c:v>2012</c:v>
                </c:pt>
                <c:pt idx="49">
                  <c:v>Feb-12</c:v>
                </c:pt>
                <c:pt idx="50">
                  <c:v>Mar-12</c:v>
                </c:pt>
                <c:pt idx="51">
                  <c:v>Apr-12</c:v>
                </c:pt>
                <c:pt idx="52">
                  <c:v>May-12</c:v>
                </c:pt>
                <c:pt idx="53">
                  <c:v>Jun-12</c:v>
                </c:pt>
                <c:pt idx="54">
                  <c:v>Jul-12</c:v>
                </c:pt>
                <c:pt idx="55">
                  <c:v>Aug-12</c:v>
                </c:pt>
                <c:pt idx="56">
                  <c:v>Sep-12</c:v>
                </c:pt>
                <c:pt idx="57">
                  <c:v>Oct-12</c:v>
                </c:pt>
                <c:pt idx="58">
                  <c:v>Nov-12</c:v>
                </c:pt>
                <c:pt idx="59">
                  <c:v>Dec-12</c:v>
                </c:pt>
                <c:pt idx="60">
                  <c:v>2013</c:v>
                </c:pt>
                <c:pt idx="61">
                  <c:v>Feb-13</c:v>
                </c:pt>
                <c:pt idx="62">
                  <c:v>Mar-13</c:v>
                </c:pt>
                <c:pt idx="63">
                  <c:v>Apr-13</c:v>
                </c:pt>
                <c:pt idx="64">
                  <c:v>May-13</c:v>
                </c:pt>
                <c:pt idx="65">
                  <c:v>Jun-13</c:v>
                </c:pt>
                <c:pt idx="66">
                  <c:v>Jul-13</c:v>
                </c:pt>
                <c:pt idx="67">
                  <c:v>Aug-13</c:v>
                </c:pt>
                <c:pt idx="68">
                  <c:v>Sep-13</c:v>
                </c:pt>
                <c:pt idx="69">
                  <c:v>Oct-13</c:v>
                </c:pt>
                <c:pt idx="70">
                  <c:v>Nov-13</c:v>
                </c:pt>
                <c:pt idx="71">
                  <c:v>Dec-13</c:v>
                </c:pt>
                <c:pt idx="72">
                  <c:v>2014</c:v>
                </c:pt>
                <c:pt idx="73">
                  <c:v>Feb-14</c:v>
                </c:pt>
                <c:pt idx="74">
                  <c:v>Mar-14</c:v>
                </c:pt>
                <c:pt idx="75">
                  <c:v>Apr-14</c:v>
                </c:pt>
                <c:pt idx="76">
                  <c:v>May-14</c:v>
                </c:pt>
                <c:pt idx="77">
                  <c:v>Jun-14</c:v>
                </c:pt>
                <c:pt idx="78">
                  <c:v>Jul-14</c:v>
                </c:pt>
                <c:pt idx="79">
                  <c:v>Aug-14</c:v>
                </c:pt>
                <c:pt idx="80">
                  <c:v>Sep-14</c:v>
                </c:pt>
                <c:pt idx="81">
                  <c:v>Oct-14</c:v>
                </c:pt>
                <c:pt idx="82">
                  <c:v>Nov-14</c:v>
                </c:pt>
                <c:pt idx="83">
                  <c:v>Dec-14</c:v>
                </c:pt>
                <c:pt idx="84">
                  <c:v>2015</c:v>
                </c:pt>
                <c:pt idx="85">
                  <c:v>Feb-15</c:v>
                </c:pt>
                <c:pt idx="86">
                  <c:v>Mar-15</c:v>
                </c:pt>
                <c:pt idx="87">
                  <c:v>Apr-15</c:v>
                </c:pt>
                <c:pt idx="88">
                  <c:v>May-15</c:v>
                </c:pt>
                <c:pt idx="89">
                  <c:v>Jun-15</c:v>
                </c:pt>
                <c:pt idx="90">
                  <c:v>Jul-15</c:v>
                </c:pt>
                <c:pt idx="91">
                  <c:v>Aug-15</c:v>
                </c:pt>
                <c:pt idx="92">
                  <c:v>Sep-15</c:v>
                </c:pt>
                <c:pt idx="93">
                  <c:v>Oct-15</c:v>
                </c:pt>
                <c:pt idx="94">
                  <c:v>Nov-15</c:v>
                </c:pt>
                <c:pt idx="95">
                  <c:v>Dec-15</c:v>
                </c:pt>
                <c:pt idx="96">
                  <c:v>2016</c:v>
                </c:pt>
                <c:pt idx="97">
                  <c:v>16-Feb</c:v>
                </c:pt>
                <c:pt idx="98">
                  <c:v>16-Mar</c:v>
                </c:pt>
                <c:pt idx="99">
                  <c:v>16-Apr</c:v>
                </c:pt>
                <c:pt idx="100">
                  <c:v>16-May</c:v>
                </c:pt>
                <c:pt idx="101">
                  <c:v>16-Jun</c:v>
                </c:pt>
                <c:pt idx="102">
                  <c:v>16-Jul</c:v>
                </c:pt>
                <c:pt idx="103">
                  <c:v>16-Aug</c:v>
                </c:pt>
                <c:pt idx="104">
                  <c:v>16-Sep</c:v>
                </c:pt>
                <c:pt idx="105">
                  <c:v>16-Oct</c:v>
                </c:pt>
                <c:pt idx="106">
                  <c:v>16-Nov</c:v>
                </c:pt>
                <c:pt idx="107">
                  <c:v>16-Dec</c:v>
                </c:pt>
                <c:pt idx="108">
                  <c:v>2017</c:v>
                </c:pt>
                <c:pt idx="109">
                  <c:v>17-Feb</c:v>
                </c:pt>
                <c:pt idx="110">
                  <c:v>17-Mar</c:v>
                </c:pt>
                <c:pt idx="111">
                  <c:v>17-Apr</c:v>
                </c:pt>
                <c:pt idx="112">
                  <c:v>17-May</c:v>
                </c:pt>
                <c:pt idx="113">
                  <c:v>17-Jun</c:v>
                </c:pt>
                <c:pt idx="114">
                  <c:v>17-Jul</c:v>
                </c:pt>
                <c:pt idx="115">
                  <c:v>17-Aug</c:v>
                </c:pt>
                <c:pt idx="116">
                  <c:v>17-Sep</c:v>
                </c:pt>
                <c:pt idx="117">
                  <c:v>17-Oct</c:v>
                </c:pt>
                <c:pt idx="118">
                  <c:v>17-Nov</c:v>
                </c:pt>
                <c:pt idx="119">
                  <c:v>17-Dec</c:v>
                </c:pt>
                <c:pt idx="120">
                  <c:v>2018</c:v>
                </c:pt>
                <c:pt idx="121">
                  <c:v>18-Feb</c:v>
                </c:pt>
                <c:pt idx="122">
                  <c:v>18-Mar</c:v>
                </c:pt>
                <c:pt idx="123">
                  <c:v>18-Apr</c:v>
                </c:pt>
                <c:pt idx="124">
                  <c:v>18-May</c:v>
                </c:pt>
                <c:pt idx="125">
                  <c:v>18-Jun</c:v>
                </c:pt>
                <c:pt idx="126">
                  <c:v>18-Jul</c:v>
                </c:pt>
                <c:pt idx="127">
                  <c:v>18-Aug</c:v>
                </c:pt>
                <c:pt idx="128">
                  <c:v>18-Sep</c:v>
                </c:pt>
                <c:pt idx="129">
                  <c:v>18-Oct</c:v>
                </c:pt>
                <c:pt idx="130">
                  <c:v>18-Nov</c:v>
                </c:pt>
                <c:pt idx="131">
                  <c:v>18-Dec</c:v>
                </c:pt>
                <c:pt idx="132">
                  <c:v>2019</c:v>
                </c:pt>
                <c:pt idx="133">
                  <c:v>19-Feb</c:v>
                </c:pt>
                <c:pt idx="134">
                  <c:v>19-Mar</c:v>
                </c:pt>
                <c:pt idx="135">
                  <c:v>19-Apr</c:v>
                </c:pt>
                <c:pt idx="136">
                  <c:v>19-May</c:v>
                </c:pt>
                <c:pt idx="137">
                  <c:v>19-Jun</c:v>
                </c:pt>
                <c:pt idx="138">
                  <c:v>19-Jul</c:v>
                </c:pt>
                <c:pt idx="139">
                  <c:v>19-Aug</c:v>
                </c:pt>
                <c:pt idx="140">
                  <c:v>19-Sep</c:v>
                </c:pt>
                <c:pt idx="141">
                  <c:v>19-Oct</c:v>
                </c:pt>
                <c:pt idx="142">
                  <c:v>19-Nov</c:v>
                </c:pt>
                <c:pt idx="143">
                  <c:v>19-Dec</c:v>
                </c:pt>
                <c:pt idx="144">
                  <c:v>2020</c:v>
                </c:pt>
                <c:pt idx="145">
                  <c:v>20-Feb</c:v>
                </c:pt>
                <c:pt idx="146">
                  <c:v>20-Mar</c:v>
                </c:pt>
                <c:pt idx="147">
                  <c:v>20-Apr</c:v>
                </c:pt>
                <c:pt idx="148">
                  <c:v>20-May</c:v>
                </c:pt>
                <c:pt idx="149">
                  <c:v>20-Jun</c:v>
                </c:pt>
                <c:pt idx="150">
                  <c:v>20-Jul</c:v>
                </c:pt>
                <c:pt idx="151">
                  <c:v>20-Aug</c:v>
                </c:pt>
                <c:pt idx="152">
                  <c:v>20-Sep</c:v>
                </c:pt>
                <c:pt idx="153">
                  <c:v>20-Oct</c:v>
                </c:pt>
                <c:pt idx="154">
                  <c:v>20-Nov</c:v>
                </c:pt>
                <c:pt idx="155">
                  <c:v>20-Dec</c:v>
                </c:pt>
                <c:pt idx="156">
                  <c:v>2021</c:v>
                </c:pt>
                <c:pt idx="157">
                  <c:v>21-Feb</c:v>
                </c:pt>
                <c:pt idx="158">
                  <c:v>21-Mar</c:v>
                </c:pt>
                <c:pt idx="159">
                  <c:v>21-Apr</c:v>
                </c:pt>
                <c:pt idx="160">
                  <c:v>21-May</c:v>
                </c:pt>
                <c:pt idx="161">
                  <c:v>21-Jun</c:v>
                </c:pt>
                <c:pt idx="162">
                  <c:v>21-Jul</c:v>
                </c:pt>
                <c:pt idx="163">
                  <c:v>21-Aug</c:v>
                </c:pt>
                <c:pt idx="164">
                  <c:v>21-Sep</c:v>
                </c:pt>
                <c:pt idx="165">
                  <c:v>21-Oct</c:v>
                </c:pt>
                <c:pt idx="166">
                  <c:v>21-Nov</c:v>
                </c:pt>
                <c:pt idx="167">
                  <c:v>21-Dec</c:v>
                </c:pt>
                <c:pt idx="168">
                  <c:v>2022</c:v>
                </c:pt>
                <c:pt idx="169">
                  <c:v>22-Feb</c:v>
                </c:pt>
                <c:pt idx="170">
                  <c:v>22-Mar</c:v>
                </c:pt>
                <c:pt idx="171">
                  <c:v>22-Apr</c:v>
                </c:pt>
                <c:pt idx="172">
                  <c:v>22-May</c:v>
                </c:pt>
                <c:pt idx="173">
                  <c:v>22-Jun</c:v>
                </c:pt>
                <c:pt idx="174">
                  <c:v>22-Jul</c:v>
                </c:pt>
                <c:pt idx="175">
                  <c:v>22-Aug</c:v>
                </c:pt>
                <c:pt idx="176">
                  <c:v>22-Sep</c:v>
                </c:pt>
                <c:pt idx="177">
                  <c:v>22-Oct</c:v>
                </c:pt>
                <c:pt idx="178">
                  <c:v>22-Nov</c:v>
                </c:pt>
                <c:pt idx="179">
                  <c:v>22-Dec</c:v>
                </c:pt>
                <c:pt idx="180">
                  <c:v>2023</c:v>
                </c:pt>
                <c:pt idx="181">
                  <c:v>23-Feb</c:v>
                </c:pt>
                <c:pt idx="182">
                  <c:v>23-Mar</c:v>
                </c:pt>
                <c:pt idx="183">
                  <c:v>23-Apr</c:v>
                </c:pt>
                <c:pt idx="184">
                  <c:v>23-May</c:v>
                </c:pt>
                <c:pt idx="185">
                  <c:v>23-Jun</c:v>
                </c:pt>
                <c:pt idx="186">
                  <c:v>23-Jul</c:v>
                </c:pt>
                <c:pt idx="187">
                  <c:v>23-Aug</c:v>
                </c:pt>
              </c:strCache>
            </c:strRef>
          </c:cat>
          <c:val>
            <c:numRef>
              <c:f>Manufacturing!$B$14:$B$201</c:f>
              <c:numCache>
                <c:formatCode>0.0</c:formatCode>
                <c:ptCount val="188"/>
                <c:pt idx="0">
                  <c:v>108.18640000000001</c:v>
                </c:pt>
                <c:pt idx="1">
                  <c:v>107.4631</c:v>
                </c:pt>
                <c:pt idx="2">
                  <c:v>106.99460000000001</c:v>
                </c:pt>
                <c:pt idx="3">
                  <c:v>105.89879999999999</c:v>
                </c:pt>
                <c:pt idx="4">
                  <c:v>105.25360000000001</c:v>
                </c:pt>
                <c:pt idx="5">
                  <c:v>104.4926</c:v>
                </c:pt>
                <c:pt idx="6">
                  <c:v>103.3676</c:v>
                </c:pt>
                <c:pt idx="7">
                  <c:v>102.03440000000001</c:v>
                </c:pt>
                <c:pt idx="8">
                  <c:v>98.543800000000005</c:v>
                </c:pt>
                <c:pt idx="9">
                  <c:v>97.906499999999994</c:v>
                </c:pt>
                <c:pt idx="10">
                  <c:v>95.486699999999999</c:v>
                </c:pt>
                <c:pt idx="11">
                  <c:v>92.271699999999996</c:v>
                </c:pt>
                <c:pt idx="12">
                  <c:v>89.301400000000001</c:v>
                </c:pt>
                <c:pt idx="13">
                  <c:v>89.200900000000004</c:v>
                </c:pt>
                <c:pt idx="14">
                  <c:v>87.583699999999993</c:v>
                </c:pt>
                <c:pt idx="15">
                  <c:v>86.9803</c:v>
                </c:pt>
                <c:pt idx="16">
                  <c:v>86.091700000000003</c:v>
                </c:pt>
                <c:pt idx="17">
                  <c:v>85.907200000000003</c:v>
                </c:pt>
                <c:pt idx="18">
                  <c:v>87.277500000000003</c:v>
                </c:pt>
                <c:pt idx="19">
                  <c:v>88.263999999999996</c:v>
                </c:pt>
                <c:pt idx="20">
                  <c:v>89.159599999999998</c:v>
                </c:pt>
                <c:pt idx="21">
                  <c:v>89.218299999999999</c:v>
                </c:pt>
                <c:pt idx="22">
                  <c:v>90.109300000000005</c:v>
                </c:pt>
                <c:pt idx="23">
                  <c:v>89.969899999999996</c:v>
                </c:pt>
                <c:pt idx="24">
                  <c:v>90.870699999999999</c:v>
                </c:pt>
                <c:pt idx="25">
                  <c:v>90.795000000000002</c:v>
                </c:pt>
                <c:pt idx="26">
                  <c:v>91.952600000000004</c:v>
                </c:pt>
                <c:pt idx="27">
                  <c:v>92.695899999999995</c:v>
                </c:pt>
                <c:pt idx="28">
                  <c:v>93.888499999999993</c:v>
                </c:pt>
                <c:pt idx="29">
                  <c:v>93.869799999999998</c:v>
                </c:pt>
                <c:pt idx="30">
                  <c:v>94.358000000000004</c:v>
                </c:pt>
                <c:pt idx="31">
                  <c:v>94.479799999999997</c:v>
                </c:pt>
                <c:pt idx="32">
                  <c:v>94.552899999999994</c:v>
                </c:pt>
                <c:pt idx="33">
                  <c:v>94.613299999999995</c:v>
                </c:pt>
                <c:pt idx="34">
                  <c:v>94.736500000000007</c:v>
                </c:pt>
                <c:pt idx="35">
                  <c:v>95.2</c:v>
                </c:pt>
                <c:pt idx="36">
                  <c:v>95.258300000000006</c:v>
                </c:pt>
                <c:pt idx="37">
                  <c:v>95.385900000000007</c:v>
                </c:pt>
                <c:pt idx="38">
                  <c:v>96.005300000000005</c:v>
                </c:pt>
                <c:pt idx="39">
                  <c:v>95.456999999999994</c:v>
                </c:pt>
                <c:pt idx="40">
                  <c:v>95.456100000000006</c:v>
                </c:pt>
                <c:pt idx="41">
                  <c:v>95.562700000000007</c:v>
                </c:pt>
                <c:pt idx="42">
                  <c:v>96.111599999999996</c:v>
                </c:pt>
                <c:pt idx="43">
                  <c:v>96.537000000000006</c:v>
                </c:pt>
                <c:pt idx="44">
                  <c:v>96.790999999999997</c:v>
                </c:pt>
                <c:pt idx="45">
                  <c:v>97.31</c:v>
                </c:pt>
                <c:pt idx="46">
                  <c:v>97.124899999999997</c:v>
                </c:pt>
                <c:pt idx="47">
                  <c:v>97.769099999999995</c:v>
                </c:pt>
                <c:pt idx="48">
                  <c:v>98.608999999999995</c:v>
                </c:pt>
                <c:pt idx="49">
                  <c:v>99.038200000000003</c:v>
                </c:pt>
                <c:pt idx="50">
                  <c:v>98.499399999999994</c:v>
                </c:pt>
                <c:pt idx="51">
                  <c:v>98.989000000000004</c:v>
                </c:pt>
                <c:pt idx="52">
                  <c:v>98.636399999999995</c:v>
                </c:pt>
                <c:pt idx="53">
                  <c:v>98.910300000000007</c:v>
                </c:pt>
                <c:pt idx="54">
                  <c:v>98.685900000000004</c:v>
                </c:pt>
                <c:pt idx="55">
                  <c:v>98.577699999999993</c:v>
                </c:pt>
                <c:pt idx="56">
                  <c:v>98.352800000000002</c:v>
                </c:pt>
                <c:pt idx="57">
                  <c:v>98.1464</c:v>
                </c:pt>
                <c:pt idx="58">
                  <c:v>98.763400000000004</c:v>
                </c:pt>
                <c:pt idx="59">
                  <c:v>99.468400000000003</c:v>
                </c:pt>
                <c:pt idx="60">
                  <c:v>99.234999999999999</c:v>
                </c:pt>
                <c:pt idx="61">
                  <c:v>99.635300000000001</c:v>
                </c:pt>
                <c:pt idx="62">
                  <c:v>99.545199999999994</c:v>
                </c:pt>
                <c:pt idx="63">
                  <c:v>99.211100000000002</c:v>
                </c:pt>
                <c:pt idx="64">
                  <c:v>99.534899999999993</c:v>
                </c:pt>
                <c:pt idx="65">
                  <c:v>99.748900000000006</c:v>
                </c:pt>
                <c:pt idx="66">
                  <c:v>98.953599999999994</c:v>
                </c:pt>
                <c:pt idx="67">
                  <c:v>99.807500000000005</c:v>
                </c:pt>
                <c:pt idx="68">
                  <c:v>99.9011</c:v>
                </c:pt>
                <c:pt idx="69">
                  <c:v>100.0304</c:v>
                </c:pt>
                <c:pt idx="70">
                  <c:v>99.996099999999998</c:v>
                </c:pt>
                <c:pt idx="71">
                  <c:v>99.832499999999996</c:v>
                </c:pt>
                <c:pt idx="72">
                  <c:v>98.775499999999994</c:v>
                </c:pt>
                <c:pt idx="73">
                  <c:v>99.6952</c:v>
                </c:pt>
                <c:pt idx="74">
                  <c:v>100.587</c:v>
                </c:pt>
                <c:pt idx="75">
                  <c:v>100.5534</c:v>
                </c:pt>
                <c:pt idx="76">
                  <c:v>100.8479</c:v>
                </c:pt>
                <c:pt idx="77">
                  <c:v>101.1632</c:v>
                </c:pt>
                <c:pt idx="78">
                  <c:v>101.5934</c:v>
                </c:pt>
                <c:pt idx="79">
                  <c:v>101.0222</c:v>
                </c:pt>
                <c:pt idx="80">
                  <c:v>101.0361</c:v>
                </c:pt>
                <c:pt idx="81">
                  <c:v>100.9151</c:v>
                </c:pt>
                <c:pt idx="82">
                  <c:v>101.6026</c:v>
                </c:pt>
                <c:pt idx="83">
                  <c:v>101.38460000000001</c:v>
                </c:pt>
                <c:pt idx="84">
                  <c:v>100.8105</c:v>
                </c:pt>
                <c:pt idx="85">
                  <c:v>100.032</c:v>
                </c:pt>
                <c:pt idx="86">
                  <c:v>100.40779999999999</c:v>
                </c:pt>
                <c:pt idx="87">
                  <c:v>100.376</c:v>
                </c:pt>
                <c:pt idx="88">
                  <c:v>100.38849999999999</c:v>
                </c:pt>
                <c:pt idx="89">
                  <c:v>100.0235</c:v>
                </c:pt>
                <c:pt idx="90">
                  <c:v>100.7573</c:v>
                </c:pt>
                <c:pt idx="91">
                  <c:v>100.4511</c:v>
                </c:pt>
                <c:pt idx="92">
                  <c:v>100.1636</c:v>
                </c:pt>
                <c:pt idx="93">
                  <c:v>100.0498</c:v>
                </c:pt>
                <c:pt idx="94">
                  <c:v>99.771900000000002</c:v>
                </c:pt>
                <c:pt idx="95">
                  <c:v>99.497699999999995</c:v>
                </c:pt>
                <c:pt idx="96">
                  <c:v>99.901700000000005</c:v>
                </c:pt>
                <c:pt idx="97">
                  <c:v>99.531999999999996</c:v>
                </c:pt>
                <c:pt idx="98">
                  <c:v>99.469099999999997</c:v>
                </c:pt>
                <c:pt idx="99">
                  <c:v>99.303100000000001</c:v>
                </c:pt>
                <c:pt idx="100">
                  <c:v>99.239199999999997</c:v>
                </c:pt>
                <c:pt idx="101">
                  <c:v>99.470600000000005</c:v>
                </c:pt>
                <c:pt idx="102">
                  <c:v>99.510900000000007</c:v>
                </c:pt>
                <c:pt idx="103">
                  <c:v>99.168599999999998</c:v>
                </c:pt>
                <c:pt idx="104">
                  <c:v>99.358199999999997</c:v>
                </c:pt>
                <c:pt idx="105">
                  <c:v>99.503299999999996</c:v>
                </c:pt>
                <c:pt idx="106">
                  <c:v>99.4315</c:v>
                </c:pt>
                <c:pt idx="107">
                  <c:v>99.461200000000005</c:v>
                </c:pt>
                <c:pt idx="108">
                  <c:v>99.628600000000006</c:v>
                </c:pt>
                <c:pt idx="109">
                  <c:v>99.541499999999999</c:v>
                </c:pt>
                <c:pt idx="110">
                  <c:v>99.180199999999999</c:v>
                </c:pt>
                <c:pt idx="111">
                  <c:v>100.2753</c:v>
                </c:pt>
                <c:pt idx="112">
                  <c:v>100.1347</c:v>
                </c:pt>
                <c:pt idx="113">
                  <c:v>100.18389999999999</c:v>
                </c:pt>
                <c:pt idx="114">
                  <c:v>99.808000000000007</c:v>
                </c:pt>
                <c:pt idx="115">
                  <c:v>99.614000000000004</c:v>
                </c:pt>
                <c:pt idx="116">
                  <c:v>99.637100000000004</c:v>
                </c:pt>
                <c:pt idx="117">
                  <c:v>100.69029999999999</c:v>
                </c:pt>
                <c:pt idx="118">
                  <c:v>100.7735</c:v>
                </c:pt>
                <c:pt idx="119">
                  <c:v>100.5329</c:v>
                </c:pt>
                <c:pt idx="120">
                  <c:v>100.11620000000001</c:v>
                </c:pt>
                <c:pt idx="121">
                  <c:v>101.1392</c:v>
                </c:pt>
                <c:pt idx="122">
                  <c:v>101.03270000000001</c:v>
                </c:pt>
                <c:pt idx="123">
                  <c:v>101.7144</c:v>
                </c:pt>
                <c:pt idx="124">
                  <c:v>100.8395</c:v>
                </c:pt>
                <c:pt idx="125">
                  <c:v>101.4846</c:v>
                </c:pt>
                <c:pt idx="126">
                  <c:v>101.5187</c:v>
                </c:pt>
                <c:pt idx="127">
                  <c:v>101.8438</c:v>
                </c:pt>
                <c:pt idx="128">
                  <c:v>101.8535</c:v>
                </c:pt>
                <c:pt idx="129">
                  <c:v>101.3708</c:v>
                </c:pt>
                <c:pt idx="130">
                  <c:v>101.10299999999999</c:v>
                </c:pt>
                <c:pt idx="131">
                  <c:v>101.4194</c:v>
                </c:pt>
                <c:pt idx="132">
                  <c:v>100.5406</c:v>
                </c:pt>
                <c:pt idx="133">
                  <c:v>100.0431</c:v>
                </c:pt>
                <c:pt idx="134">
                  <c:v>99.734099999999998</c:v>
                </c:pt>
                <c:pt idx="135">
                  <c:v>99.130499999999998</c:v>
                </c:pt>
                <c:pt idx="136">
                  <c:v>99.178399999999996</c:v>
                </c:pt>
                <c:pt idx="137">
                  <c:v>99.600800000000007</c:v>
                </c:pt>
                <c:pt idx="138">
                  <c:v>98.919700000000006</c:v>
                </c:pt>
                <c:pt idx="139">
                  <c:v>99.575800000000001</c:v>
                </c:pt>
                <c:pt idx="140">
                  <c:v>98.931100000000001</c:v>
                </c:pt>
                <c:pt idx="141">
                  <c:v>98.004199999999997</c:v>
                </c:pt>
                <c:pt idx="142">
                  <c:v>98.856300000000005</c:v>
                </c:pt>
                <c:pt idx="143">
                  <c:v>98.963099999999997</c:v>
                </c:pt>
                <c:pt idx="144">
                  <c:v>98.761600000000001</c:v>
                </c:pt>
                <c:pt idx="145">
                  <c:v>98.939599999999999</c:v>
                </c:pt>
                <c:pt idx="146">
                  <c:v>94.358999999999995</c:v>
                </c:pt>
                <c:pt idx="147">
                  <c:v>79.7607</c:v>
                </c:pt>
                <c:pt idx="148">
                  <c:v>83.2547</c:v>
                </c:pt>
                <c:pt idx="149">
                  <c:v>89.677499999999995</c:v>
                </c:pt>
                <c:pt idx="150">
                  <c:v>92.885400000000004</c:v>
                </c:pt>
                <c:pt idx="151">
                  <c:v>94.266199999999998</c:v>
                </c:pt>
                <c:pt idx="152">
                  <c:v>94.297899999999998</c:v>
                </c:pt>
                <c:pt idx="153">
                  <c:v>95.069800000000001</c:v>
                </c:pt>
                <c:pt idx="154">
                  <c:v>95.631299999999996</c:v>
                </c:pt>
                <c:pt idx="155">
                  <c:v>96.227599999999995</c:v>
                </c:pt>
                <c:pt idx="156">
                  <c:v>97.229100000000003</c:v>
                </c:pt>
                <c:pt idx="157">
                  <c:v>93.408600000000007</c:v>
                </c:pt>
                <c:pt idx="158">
                  <c:v>96.221199999999996</c:v>
                </c:pt>
                <c:pt idx="159">
                  <c:v>96.338499999999996</c:v>
                </c:pt>
                <c:pt idx="160">
                  <c:v>97.360900000000001</c:v>
                </c:pt>
                <c:pt idx="161">
                  <c:v>97.305199999999999</c:v>
                </c:pt>
                <c:pt idx="162">
                  <c:v>98.295199999999994</c:v>
                </c:pt>
                <c:pt idx="163">
                  <c:v>98.016199999999998</c:v>
                </c:pt>
                <c:pt idx="164">
                  <c:v>97.141300000000001</c:v>
                </c:pt>
                <c:pt idx="165">
                  <c:v>98.440700000000007</c:v>
                </c:pt>
                <c:pt idx="166">
                  <c:v>99.285300000000007</c:v>
                </c:pt>
                <c:pt idx="167">
                  <c:v>99.235399999999998</c:v>
                </c:pt>
                <c:pt idx="168">
                  <c:v>98.674300000000002</c:v>
                </c:pt>
                <c:pt idx="169">
                  <c:v>99.827299999999994</c:v>
                </c:pt>
                <c:pt idx="170">
                  <c:v>100.63330000000001</c:v>
                </c:pt>
                <c:pt idx="171">
                  <c:v>100.7696</c:v>
                </c:pt>
                <c:pt idx="172">
                  <c:v>100.3862</c:v>
                </c:pt>
                <c:pt idx="173">
                  <c:v>99.957599999999999</c:v>
                </c:pt>
                <c:pt idx="174">
                  <c:v>100.1859</c:v>
                </c:pt>
                <c:pt idx="175">
                  <c:v>100.379</c:v>
                </c:pt>
                <c:pt idx="176">
                  <c:v>100.6212</c:v>
                </c:pt>
                <c:pt idx="177">
                  <c:v>100.75449999999999</c:v>
                </c:pt>
                <c:pt idx="178">
                  <c:v>100.0038</c:v>
                </c:pt>
                <c:pt idx="179">
                  <c:v>97.905000000000001</c:v>
                </c:pt>
                <c:pt idx="180">
                  <c:v>99.533900000000003</c:v>
                </c:pt>
                <c:pt idx="181">
                  <c:v>99.881299999999996</c:v>
                </c:pt>
                <c:pt idx="182">
                  <c:v>99.072800000000001</c:v>
                </c:pt>
                <c:pt idx="183">
                  <c:v>99.896000000000001</c:v>
                </c:pt>
                <c:pt idx="184">
                  <c:v>99.661799999999999</c:v>
                </c:pt>
                <c:pt idx="185">
                  <c:v>99.241500000000002</c:v>
                </c:pt>
                <c:pt idx="186">
                  <c:v>99.592799999999997</c:v>
                </c:pt>
                <c:pt idx="187">
                  <c:v>99.72759999999999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2ED-499D-BFB5-A72052AAF93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ax val="115"/>
          <c:min val="8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majorUnit val="5"/>
      </c:valAx>
      <c:valAx>
        <c:axId val="969897296"/>
        <c:scaling>
          <c:orientation val="minMax"/>
          <c:max val="0.15000000000000002"/>
          <c:min val="-0.2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69892304"/>
        <c:crosses val="max"/>
        <c:crossBetween val="between"/>
      </c:valAx>
      <c:catAx>
        <c:axId val="969892304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69897296"/>
        <c:crosses val="autoZero"/>
        <c:auto val="1"/>
        <c:lblAlgn val="ctr"/>
        <c:lblOffset val="100"/>
        <c:noMultiLvlLbl val="0"/>
      </c:catAx>
      <c:spPr>
        <a:noFill/>
        <a:ln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0.34647885046977822"/>
          <c:y val="0.75663845144356956"/>
          <c:w val="0.49682795698924731"/>
          <c:h val="6.3195100612423449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aseline="0">
                <a:solidFill>
                  <a:schemeClr val="tx1"/>
                </a:solidFill>
              </a:rPr>
              <a:t>Q/Q change, seasonally adjusted annual rate</a:t>
            </a:r>
            <a:endParaRPr lang="en-US" sz="140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6.4426189514772192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22672286156538E-2"/>
          <c:y val="7.4807411894026066E-2"/>
          <c:w val="0.88658821785370456"/>
          <c:h val="0.680596237970253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GDP-Forecast'!$C$1</c:f>
              <c:strCache>
                <c:ptCount val="1"/>
                <c:pt idx="0">
                  <c:v> History</c:v>
                </c:pt>
              </c:strCache>
            </c:strRef>
          </c:tx>
          <c:spPr>
            <a:solidFill>
              <a:srgbClr val="3397CB"/>
            </a:solidFill>
            <a:ln>
              <a:solidFill>
                <a:srgbClr val="0070C0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11A-41E9-87C6-42D162AE131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11A-41E9-87C6-42D162AE131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11A-41E9-87C6-42D162AE131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11A-41E9-87C6-42D162AE131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11A-41E9-87C6-42D162AE131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11A-41E9-87C6-42D162AE131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11A-41E9-87C6-42D162AE1311}"/>
              </c:ext>
            </c:extLst>
          </c:dPt>
          <c:dLbls>
            <c:dLbl>
              <c:idx val="0"/>
              <c:layout>
                <c:manualLayout>
                  <c:x val="-1.068376068376088E-3"/>
                  <c:y val="-1.736111111111111E-3"/>
                </c:manualLayout>
              </c:layout>
              <c:tx>
                <c:rich>
                  <a:bodyPr/>
                  <a:lstStyle/>
                  <a:p>
                    <a:fld id="{D082ACB4-76B2-4B33-BE3E-A61A9AEC956D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11A-41E9-87C6-42D162AE1311}"/>
                </c:ext>
              </c:extLst>
            </c:dLbl>
            <c:dLbl>
              <c:idx val="1"/>
              <c:tx>
                <c:rich>
                  <a:bodyPr rot="-5400000" spcFirstLastPara="1" vertOverflow="ellipsis" wrap="square" lIns="38100" tIns="19050" rIns="38100" bIns="19050" anchor="ctr" anchorCtr="1">
                    <a:spAutoFit/>
                  </a:bodyPr>
                  <a:lstStyle/>
                  <a:p>
                    <a:pPr>
                      <a:defRPr sz="1600" b="1" i="0" u="none" strike="noStrike" kern="1200" baseline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defRPr>
                    </a:pPr>
                    <a:fld id="{F32F21E6-34F8-4599-9655-279EDE694844}" type="VALUE">
                      <a:rPr lang="en-US" b="1">
                        <a:solidFill>
                          <a:schemeClr val="bg1"/>
                        </a:solidFill>
                      </a:rPr>
                      <a:pPr>
                        <a:defRPr sz="1600" b="1">
                          <a:solidFill>
                            <a:schemeClr val="bg1"/>
                          </a:solidFill>
                        </a:defRPr>
                      </a:pPr>
                      <a:t>[VALUE]</a:t>
                    </a:fld>
                    <a:endParaRPr lang="en-US"/>
                  </a:p>
                </c:rich>
              </c:tx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8-411A-41E9-87C6-42D162AE1311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-5400000" spcFirstLastPara="1" vertOverflow="ellipsis" wrap="square" lIns="38100" tIns="19050" rIns="38100" bIns="19050" anchor="ctr" anchorCtr="1">
                  <a:spAutoFit/>
                </a:bodyPr>
                <a:lstStyle/>
                <a:p>
                  <a:pPr>
                    <a:defRPr sz="1600" b="1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dLblPos val="inBase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411A-41E9-87C6-42D162AE1311}"/>
                </c:ext>
              </c:extLst>
            </c:dLbl>
            <c:dLbl>
              <c:idx val="5"/>
              <c:layout>
                <c:manualLayout>
                  <c:x val="-2.3148148148148147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11A-41E9-87C6-42D162AE1311}"/>
                </c:ext>
              </c:extLst>
            </c:dLbl>
            <c:dLbl>
              <c:idx val="6"/>
              <c:layout>
                <c:manualLayout>
                  <c:x val="-4.6296296296297144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11A-41E9-87C6-42D162AE1311}"/>
                </c:ext>
              </c:extLst>
            </c:dLbl>
            <c:dLbl>
              <c:idx val="9"/>
              <c:layout>
                <c:manualLayout>
                  <c:x val="-2.3148428561815954E-3"/>
                  <c:y val="-5.2081966316711052E-3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411A-41E9-87C6-42D162AE1311}"/>
                </c:ext>
              </c:extLst>
            </c:dLbl>
            <c:dLbl>
              <c:idx val="10"/>
              <c:layout>
                <c:manualLayout>
                  <c:x val="-1.0416666666666836E-2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411A-41E9-87C6-42D162AE13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multiLvlStrRef>
              <c:f>'GDP-Forecast'!$A$10:$B$29</c:f>
              <c:multiLvlStrCache>
                <c:ptCount val="20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</c:lvl>
                <c:lvl>
                  <c:pt idx="0">
                    <c:v>2020</c:v>
                  </c:pt>
                  <c:pt idx="4">
                    <c:v>2021</c:v>
                  </c:pt>
                  <c:pt idx="8">
                    <c:v>2022</c:v>
                  </c:pt>
                  <c:pt idx="12">
                    <c:v>2023</c:v>
                  </c:pt>
                  <c:pt idx="16">
                    <c:v>2024</c:v>
                  </c:pt>
                </c:lvl>
              </c:multiLvlStrCache>
            </c:multiLvlStrRef>
          </c:cat>
          <c:val>
            <c:numRef>
              <c:f>'GDP-Forecast'!$C$10:$C$25</c:f>
              <c:numCache>
                <c:formatCode>0.0%</c:formatCode>
                <c:ptCount val="16"/>
                <c:pt idx="0">
                  <c:v>-5.2999999999999999E-2</c:v>
                </c:pt>
                <c:pt idx="1">
                  <c:v>-0.28000000000000003</c:v>
                </c:pt>
                <c:pt idx="2">
                  <c:v>0.34799999999999998</c:v>
                </c:pt>
                <c:pt idx="3">
                  <c:v>4.2000000000000003E-2</c:v>
                </c:pt>
                <c:pt idx="4">
                  <c:v>5.2000000000000005E-2</c:v>
                </c:pt>
                <c:pt idx="5">
                  <c:v>6.2E-2</c:v>
                </c:pt>
                <c:pt idx="6">
                  <c:v>3.3000000000000002E-2</c:v>
                </c:pt>
                <c:pt idx="7">
                  <c:v>7.0000000000000007E-2</c:v>
                </c:pt>
                <c:pt idx="8">
                  <c:v>-0.02</c:v>
                </c:pt>
                <c:pt idx="9">
                  <c:v>-6.0000000000000001E-3</c:v>
                </c:pt>
                <c:pt idx="10">
                  <c:v>2.7000000000000003E-2</c:v>
                </c:pt>
                <c:pt idx="11">
                  <c:v>2.6000000000000002E-2</c:v>
                </c:pt>
                <c:pt idx="12">
                  <c:v>2.2000000000000002E-2</c:v>
                </c:pt>
                <c:pt idx="13">
                  <c:v>2.1000000000000001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11A-41E9-87C6-42D162AE1311}"/>
            </c:ext>
          </c:extLst>
        </c:ser>
        <c:ser>
          <c:idx val="1"/>
          <c:order val="1"/>
          <c:tx>
            <c:strRef>
              <c:f>'GDP-Forecast'!$D$1</c:f>
              <c:strCache>
                <c:ptCount val="1"/>
                <c:pt idx="0">
                  <c:v> Forecast</c:v>
                </c:pt>
              </c:strCache>
            </c:strRef>
          </c:tx>
          <c:spPr>
            <a:pattFill prst="dkDnDiag">
              <a:fgClr>
                <a:srgbClr val="00B050"/>
              </a:fgClr>
              <a:bgClr>
                <a:sysClr val="window" lastClr="FFFFFF"/>
              </a:bgClr>
            </a:pattFill>
            <a:ln>
              <a:solidFill>
                <a:srgbClr val="7F7F7F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B-411A-41E9-87C6-42D162AE1311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C-411A-41E9-87C6-42D162AE1311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D-411A-41E9-87C6-42D162AE1311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E-411A-41E9-87C6-42D162AE1311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F-411A-41E9-87C6-42D162AE1311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0-411A-41E9-87C6-42D162AE1311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1-411A-41E9-87C6-42D162AE1311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3-411A-41E9-87C6-42D162AE1311}"/>
              </c:ext>
            </c:extLst>
          </c:dPt>
          <c:dLbls>
            <c:dLbl>
              <c:idx val="0"/>
              <c:layout>
                <c:manualLayout>
                  <c:x val="-1.9586668320030757E-17"/>
                  <c:y val="-1.736111111111111E-3"/>
                </c:manualLayout>
              </c:layout>
              <c:tx>
                <c:rich>
                  <a:bodyPr/>
                  <a:lstStyle/>
                  <a:p>
                    <a:fld id="{8D481E99-82BD-47DD-B78E-4F3C925B0CF5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4-411A-41E9-87C6-42D162AE1311}"/>
                </c:ext>
              </c:extLst>
            </c:dLbl>
            <c:dLbl>
              <c:idx val="1"/>
              <c:layout>
                <c:manualLayout>
                  <c:x val="-3.9173336640061513E-17"/>
                  <c:y val="0"/>
                </c:manualLayout>
              </c:layout>
              <c:tx>
                <c:rich>
                  <a:bodyPr/>
                  <a:lstStyle/>
                  <a:p>
                    <a:fld id="{C932DC32-67FF-430C-9106-963345196D81}" type="VALUE">
                      <a:rPr lang="en-US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5-411A-41E9-87C6-42D162AE1311}"/>
                </c:ext>
              </c:extLst>
            </c:dLbl>
            <c:dLbl>
              <c:idx val="2"/>
              <c:layout>
                <c:manualLayout>
                  <c:x val="-3.9173336640061513E-17"/>
                  <c:y val="-6.944307742782152E-3"/>
                </c:manualLayout>
              </c:layout>
              <c:tx>
                <c:rich>
                  <a:bodyPr/>
                  <a:lstStyle/>
                  <a:p>
                    <a:fld id="{096E3502-2588-4EC1-8F3B-FBBB43697B78}" type="VALUE">
                      <a:rPr lang="en-US" baseline="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6-411A-41E9-87C6-42D162AE1311}"/>
                </c:ext>
              </c:extLst>
            </c:dLbl>
            <c:dLbl>
              <c:idx val="5"/>
              <c:layout>
                <c:manualLayout>
                  <c:x val="5.7870370370369526E-3"/>
                  <c:y val="0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C-411A-41E9-87C6-42D162AE1311}"/>
                </c:ext>
              </c:extLst>
            </c:dLbl>
            <c:dLbl>
              <c:idx val="9"/>
              <c:tx>
                <c:rich>
                  <a:bodyPr/>
                  <a:lstStyle/>
                  <a:p>
                    <a:fld id="{9C097DF6-D946-4A88-B46A-3D09AD8B8104}" type="VALUE">
                      <a:rPr lang="en-US" sz="200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0-411A-41E9-87C6-42D162AE1311}"/>
                </c:ext>
              </c:extLst>
            </c:dLbl>
            <c:dLbl>
              <c:idx val="10"/>
              <c:tx>
                <c:rich>
                  <a:bodyPr/>
                  <a:lstStyle/>
                  <a:p>
                    <a:fld id="{23292B3D-DD85-4B2F-93C5-89190AEAA71F}" type="VALUE">
                      <a:rPr lang="en-US" sz="1600">
                        <a:solidFill>
                          <a:schemeClr val="tx1"/>
                        </a:solidFill>
                      </a:rPr>
                      <a:pPr/>
                      <a:t>[VALUE]</a:t>
                    </a:fld>
                    <a:endParaRPr lang="en-US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11-411A-41E9-87C6-42D162AE131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-5400000" spcFirstLastPara="1" vertOverflow="ellipsis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multiLvlStrRef>
              <c:f>'GDP-Forecast'!$A$10:$B$29</c:f>
              <c:multiLvlStrCache>
                <c:ptCount val="20"/>
                <c:lvl>
                  <c:pt idx="0">
                    <c:v>Q1</c:v>
                  </c:pt>
                  <c:pt idx="1">
                    <c:v>Q2</c:v>
                  </c:pt>
                  <c:pt idx="2">
                    <c:v>Q3</c:v>
                  </c:pt>
                  <c:pt idx="3">
                    <c:v>Q4</c:v>
                  </c:pt>
                  <c:pt idx="4">
                    <c:v>Q1</c:v>
                  </c:pt>
                  <c:pt idx="5">
                    <c:v>Q2</c:v>
                  </c:pt>
                  <c:pt idx="6">
                    <c:v>Q3</c:v>
                  </c:pt>
                  <c:pt idx="7">
                    <c:v>Q4</c:v>
                  </c:pt>
                  <c:pt idx="8">
                    <c:v>Q1</c:v>
                  </c:pt>
                  <c:pt idx="9">
                    <c:v>Q2</c:v>
                  </c:pt>
                  <c:pt idx="10">
                    <c:v>Q3</c:v>
                  </c:pt>
                  <c:pt idx="11">
                    <c:v>Q4</c:v>
                  </c:pt>
                  <c:pt idx="12">
                    <c:v>Q1</c:v>
                  </c:pt>
                  <c:pt idx="13">
                    <c:v>Q2</c:v>
                  </c:pt>
                  <c:pt idx="14">
                    <c:v>Q3</c:v>
                  </c:pt>
                  <c:pt idx="15">
                    <c:v>Q4</c:v>
                  </c:pt>
                  <c:pt idx="16">
                    <c:v>Q1</c:v>
                  </c:pt>
                  <c:pt idx="17">
                    <c:v>Q2</c:v>
                  </c:pt>
                  <c:pt idx="18">
                    <c:v>Q3</c:v>
                  </c:pt>
                  <c:pt idx="19">
                    <c:v>Q4</c:v>
                  </c:pt>
                </c:lvl>
                <c:lvl>
                  <c:pt idx="0">
                    <c:v>2020</c:v>
                  </c:pt>
                  <c:pt idx="4">
                    <c:v>2021</c:v>
                  </c:pt>
                  <c:pt idx="8">
                    <c:v>2022</c:v>
                  </c:pt>
                  <c:pt idx="12">
                    <c:v>2023</c:v>
                  </c:pt>
                  <c:pt idx="16">
                    <c:v>2024</c:v>
                  </c:pt>
                </c:lvl>
              </c:multiLvlStrCache>
            </c:multiLvlStrRef>
          </c:cat>
          <c:val>
            <c:numRef>
              <c:f>'GDP-Forecast'!$D$10:$D$29</c:f>
              <c:numCache>
                <c:formatCode>General</c:formatCode>
                <c:ptCount val="20"/>
                <c:pt idx="14" formatCode="0.0%">
                  <c:v>2.1064034072825644E-2</c:v>
                </c:pt>
                <c:pt idx="15" formatCode="0.0%">
                  <c:v>1.1258760106122701E-2</c:v>
                </c:pt>
                <c:pt idx="16" formatCode="0.0%">
                  <c:v>1.2710040667416989E-2</c:v>
                </c:pt>
                <c:pt idx="17" formatCode="0.0%">
                  <c:v>1.764070195561751E-2</c:v>
                </c:pt>
                <c:pt idx="18" formatCode="0.0%">
                  <c:v>2.0915685322448363E-2</c:v>
                </c:pt>
                <c:pt idx="19" formatCode="0.0%">
                  <c:v>1.953273555874024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7-411A-41E9-87C6-42D162AE131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762459912"/>
        <c:axId val="762463848"/>
      </c:barChart>
      <c:catAx>
        <c:axId val="762459912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cross"/>
        <c:minorTickMark val="none"/>
        <c:tickLblPos val="low"/>
        <c:spPr>
          <a:noFill/>
          <a:ln w="12700" cap="flat" cmpd="sng" algn="ctr">
            <a:solidFill>
              <a:sysClr val="window" lastClr="FFFFFF">
                <a:lumMod val="75000"/>
              </a:sys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2463848"/>
        <c:crosses val="autoZero"/>
        <c:auto val="1"/>
        <c:lblAlgn val="ctr"/>
        <c:lblOffset val="100"/>
        <c:noMultiLvlLbl val="0"/>
      </c:catAx>
      <c:valAx>
        <c:axId val="762463848"/>
        <c:scaling>
          <c:orientation val="minMax"/>
          <c:max val="0.1"/>
          <c:min val="-8.0000000000000016E-2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low"/>
        <c:spPr>
          <a:noFill/>
          <a:ln w="25400">
            <a:solidFill>
              <a:sysClr val="windowText" lastClr="000000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62459912"/>
        <c:crossesAt val="15"/>
        <c:crossBetween val="between"/>
      </c:valAx>
      <c:spPr>
        <a:noFill/>
        <a:ln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0.38575005016605529"/>
          <c:y val="0.65949081364829387"/>
          <c:w val="0.29572762763033594"/>
          <c:h val="5.7639545056867893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baseline="0" dirty="0">
                <a:solidFill>
                  <a:schemeClr val="tx1"/>
                </a:solidFill>
              </a:rPr>
              <a:t>Dry van spot loads</a:t>
            </a:r>
          </a:p>
          <a:p>
            <a:pPr algn="l">
              <a:defRPr/>
            </a:pPr>
            <a:r>
              <a:rPr lang="en-US" sz="1200" baseline="0" dirty="0">
                <a:solidFill>
                  <a:schemeClr val="tx1"/>
                </a:solidFill>
              </a:rPr>
              <a:t>Weekly index, 100 = 2014 average</a:t>
            </a:r>
            <a:endParaRPr lang="en-US" sz="12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6.7350904053659955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1466170895304756E-2"/>
          <c:y val="0.11759513616168502"/>
          <c:w val="0.93353190226221727"/>
          <c:h val="0.73475406540044275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Dry_Van_LA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val>
            <c:numRef>
              <c:f>Dry_Van_LA!$B$2:$B$53</c:f>
              <c:numCache>
                <c:formatCode>General</c:formatCode>
                <c:ptCount val="52"/>
                <c:pt idx="0">
                  <c:v>173.36606692862608</c:v>
                </c:pt>
                <c:pt idx="1">
                  <c:v>162.70621720778053</c:v>
                </c:pt>
                <c:pt idx="2">
                  <c:v>123.51369987251091</c:v>
                </c:pt>
                <c:pt idx="3">
                  <c:v>124.61720477303938</c:v>
                </c:pt>
                <c:pt idx="4">
                  <c:v>132.49638974626393</c:v>
                </c:pt>
                <c:pt idx="5">
                  <c:v>125.33903486848341</c:v>
                </c:pt>
                <c:pt idx="6">
                  <c:v>119.64476674352646</c:v>
                </c:pt>
                <c:pt idx="7">
                  <c:v>113.27894903637011</c:v>
                </c:pt>
                <c:pt idx="8">
                  <c:v>119.86836266227353</c:v>
                </c:pt>
                <c:pt idx="9">
                  <c:v>107.27080861661319</c:v>
                </c:pt>
                <c:pt idx="10">
                  <c:v>107.77589922693448</c:v>
                </c:pt>
                <c:pt idx="11">
                  <c:v>102.12734065947269</c:v>
                </c:pt>
                <c:pt idx="12">
                  <c:v>105.87057250534544</c:v>
                </c:pt>
                <c:pt idx="13">
                  <c:v>92.038860407316363</c:v>
                </c:pt>
                <c:pt idx="14">
                  <c:v>98.668650809007147</c:v>
                </c:pt>
                <c:pt idx="15">
                  <c:v>103.84640093426903</c:v>
                </c:pt>
                <c:pt idx="16">
                  <c:v>112.9925024760672</c:v>
                </c:pt>
                <c:pt idx="17">
                  <c:v>104.64936549426696</c:v>
                </c:pt>
                <c:pt idx="18">
                  <c:v>105.23673330807949</c:v>
                </c:pt>
                <c:pt idx="19">
                  <c:v>134.5563671373782</c:v>
                </c:pt>
                <c:pt idx="20">
                  <c:v>126.31988578973328</c:v>
                </c:pt>
                <c:pt idx="21">
                  <c:v>106.81447486762006</c:v>
                </c:pt>
                <c:pt idx="22">
                  <c:v>114.36988380858743</c:v>
                </c:pt>
                <c:pt idx="23">
                  <c:v>110.12727504708026</c:v>
                </c:pt>
                <c:pt idx="24">
                  <c:v>122.48028296014159</c:v>
                </c:pt>
                <c:pt idx="25">
                  <c:v>138.65651444469219</c:v>
                </c:pt>
                <c:pt idx="26">
                  <c:v>95.604205891937227</c:v>
                </c:pt>
                <c:pt idx="27">
                  <c:v>119.71218834083184</c:v>
                </c:pt>
                <c:pt idx="28">
                  <c:v>117.33300587320986</c:v>
                </c:pt>
                <c:pt idx="29">
                  <c:v>119.89731204868714</c:v>
                </c:pt>
                <c:pt idx="30">
                  <c:v>121.20879543581853</c:v>
                </c:pt>
                <c:pt idx="31">
                  <c:v>114.78507895583499</c:v>
                </c:pt>
                <c:pt idx="32">
                  <c:v>115.0631454305971</c:v>
                </c:pt>
                <c:pt idx="33">
                  <c:v>125.73480345379555</c:v>
                </c:pt>
                <c:pt idx="34">
                  <c:v>127.27559645436087</c:v>
                </c:pt>
                <c:pt idx="35">
                  <c:v>115.16027824027424</c:v>
                </c:pt>
                <c:pt idx="36">
                  <c:v>128.41795447876021</c:v>
                </c:pt>
                <c:pt idx="37">
                  <c:v>122.23764139243826</c:v>
                </c:pt>
                <c:pt idx="38">
                  <c:v>132.4864860088067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5D7-4AD3-8233-F2E1380E8F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83353840"/>
        <c:axId val="483357776"/>
      </c:barChart>
      <c:lineChart>
        <c:grouping val="standard"/>
        <c:varyColors val="0"/>
        <c:ser>
          <c:idx val="1"/>
          <c:order val="1"/>
          <c:tx>
            <c:strRef>
              <c:f>Dry_Van_LA!$C$1</c:f>
              <c:strCache>
                <c:ptCount val="1"/>
                <c:pt idx="0">
                  <c:v>2022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Dry_Van_LA!$C$2:$C$53</c:f>
              <c:numCache>
                <c:formatCode>General</c:formatCode>
                <c:ptCount val="52"/>
                <c:pt idx="0">
                  <c:v>347.92029259999998</c:v>
                </c:pt>
                <c:pt idx="1">
                  <c:v>349.1036009</c:v>
                </c:pt>
                <c:pt idx="2">
                  <c:v>313.5305783</c:v>
                </c:pt>
                <c:pt idx="3">
                  <c:v>307.78403220000001</c:v>
                </c:pt>
                <c:pt idx="4">
                  <c:v>305.5457141</c:v>
                </c:pt>
                <c:pt idx="5">
                  <c:v>307.86520580000001</c:v>
                </c:pt>
                <c:pt idx="6">
                  <c:v>293.76814430000002</c:v>
                </c:pt>
                <c:pt idx="7">
                  <c:v>281.12628569999998</c:v>
                </c:pt>
                <c:pt idx="8">
                  <c:v>269.89102439999999</c:v>
                </c:pt>
                <c:pt idx="9">
                  <c:v>242.64187050000001</c:v>
                </c:pt>
                <c:pt idx="10">
                  <c:v>231.293361</c:v>
                </c:pt>
                <c:pt idx="11">
                  <c:v>206.8472859</c:v>
                </c:pt>
                <c:pt idx="12">
                  <c:v>211.5676895</c:v>
                </c:pt>
                <c:pt idx="13">
                  <c:v>195.09315530000001</c:v>
                </c:pt>
                <c:pt idx="14">
                  <c:v>177.072869</c:v>
                </c:pt>
                <c:pt idx="15">
                  <c:v>190.12775060000001</c:v>
                </c:pt>
                <c:pt idx="16">
                  <c:v>190.04978449999999</c:v>
                </c:pt>
                <c:pt idx="17">
                  <c:v>205.34964590000001</c:v>
                </c:pt>
                <c:pt idx="18">
                  <c:v>182.40293800000001</c:v>
                </c:pt>
                <c:pt idx="19">
                  <c:v>221.0294686</c:v>
                </c:pt>
                <c:pt idx="20">
                  <c:v>212.54053870000001</c:v>
                </c:pt>
                <c:pt idx="21">
                  <c:v>169.8807425</c:v>
                </c:pt>
                <c:pt idx="22">
                  <c:v>181.46611110000001</c:v>
                </c:pt>
                <c:pt idx="23">
                  <c:v>190.36189569999999</c:v>
                </c:pt>
                <c:pt idx="24">
                  <c:v>186.58572079999999</c:v>
                </c:pt>
                <c:pt idx="25">
                  <c:v>225.46884879999999</c:v>
                </c:pt>
                <c:pt idx="26">
                  <c:v>163.14753039999999</c:v>
                </c:pt>
                <c:pt idx="27">
                  <c:v>195.5130867</c:v>
                </c:pt>
                <c:pt idx="28">
                  <c:v>160.71873819999999</c:v>
                </c:pt>
                <c:pt idx="29">
                  <c:v>159.270197</c:v>
                </c:pt>
                <c:pt idx="30">
                  <c:v>150.6677722</c:v>
                </c:pt>
                <c:pt idx="31">
                  <c:v>133.13872169999999</c:v>
                </c:pt>
                <c:pt idx="32">
                  <c:v>134.18929030000001</c:v>
                </c:pt>
                <c:pt idx="33">
                  <c:v>139.0325646</c:v>
                </c:pt>
                <c:pt idx="34">
                  <c:v>139.4386792</c:v>
                </c:pt>
                <c:pt idx="35">
                  <c:v>122.9374983</c:v>
                </c:pt>
                <c:pt idx="36">
                  <c:v>149.4432602</c:v>
                </c:pt>
                <c:pt idx="37">
                  <c:v>150.98851880000001</c:v>
                </c:pt>
                <c:pt idx="38">
                  <c:v>150.994687</c:v>
                </c:pt>
                <c:pt idx="39">
                  <c:v>148.6265899</c:v>
                </c:pt>
                <c:pt idx="40">
                  <c:v>140.3530538</c:v>
                </c:pt>
                <c:pt idx="41">
                  <c:v>138.9090597</c:v>
                </c:pt>
                <c:pt idx="42">
                  <c:v>142.97797220000001</c:v>
                </c:pt>
                <c:pt idx="43">
                  <c:v>143.99158159999999</c:v>
                </c:pt>
                <c:pt idx="44">
                  <c:v>136.06097339999999</c:v>
                </c:pt>
                <c:pt idx="45">
                  <c:v>138.19599070000001</c:v>
                </c:pt>
                <c:pt idx="46">
                  <c:v>82.675257549999998</c:v>
                </c:pt>
                <c:pt idx="47">
                  <c:v>179.27669359999999</c:v>
                </c:pt>
                <c:pt idx="48">
                  <c:v>145.29773220000001</c:v>
                </c:pt>
                <c:pt idx="49">
                  <c:v>147.1184963</c:v>
                </c:pt>
                <c:pt idx="50">
                  <c:v>127.6637468</c:v>
                </c:pt>
                <c:pt idx="51">
                  <c:v>133.3587766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5D7-4AD3-8233-F2E1380E8F71}"/>
            </c:ext>
          </c:extLst>
        </c:ser>
        <c:ser>
          <c:idx val="2"/>
          <c:order val="2"/>
          <c:tx>
            <c:strRef>
              <c:f>Dry_Van_LA!$D$1</c:f>
              <c:strCache>
                <c:ptCount val="1"/>
                <c:pt idx="0">
                  <c:v>2021</c:v>
                </c:pt>
              </c:strCache>
            </c:strRef>
          </c:tx>
          <c:spPr>
            <a:ln w="31750" cap="rnd">
              <a:solidFill>
                <a:srgbClr val="358B3B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Dry_Van_LA!$D$2:$D$53</c:f>
              <c:numCache>
                <c:formatCode>General</c:formatCode>
                <c:ptCount val="52"/>
                <c:pt idx="0">
                  <c:v>234.5634963</c:v>
                </c:pt>
                <c:pt idx="1">
                  <c:v>186.4125177</c:v>
                </c:pt>
                <c:pt idx="2">
                  <c:v>161.55786069999999</c:v>
                </c:pt>
                <c:pt idx="3">
                  <c:v>194.1728592</c:v>
                </c:pt>
                <c:pt idx="4">
                  <c:v>195.78547459999999</c:v>
                </c:pt>
                <c:pt idx="5">
                  <c:v>217.3596336</c:v>
                </c:pt>
                <c:pt idx="6">
                  <c:v>291.00010079999998</c:v>
                </c:pt>
                <c:pt idx="7">
                  <c:v>365.18238309999998</c:v>
                </c:pt>
                <c:pt idx="8">
                  <c:v>293.94406149999998</c:v>
                </c:pt>
                <c:pt idx="9">
                  <c:v>249.9314546</c:v>
                </c:pt>
                <c:pt idx="10">
                  <c:v>230.17888980000001</c:v>
                </c:pt>
                <c:pt idx="11">
                  <c:v>226.6200825</c:v>
                </c:pt>
                <c:pt idx="12">
                  <c:v>227.10909770000001</c:v>
                </c:pt>
                <c:pt idx="13">
                  <c:v>229.853702</c:v>
                </c:pt>
                <c:pt idx="14">
                  <c:v>224.71410729999999</c:v>
                </c:pt>
                <c:pt idx="15">
                  <c:v>213.9720557</c:v>
                </c:pt>
                <c:pt idx="16">
                  <c:v>220.06451469999999</c:v>
                </c:pt>
                <c:pt idx="17">
                  <c:v>285.14277379999999</c:v>
                </c:pt>
                <c:pt idx="18">
                  <c:v>291.01391760000001</c:v>
                </c:pt>
                <c:pt idx="19">
                  <c:v>248.686711</c:v>
                </c:pt>
                <c:pt idx="20">
                  <c:v>237.73913479999999</c:v>
                </c:pt>
                <c:pt idx="21">
                  <c:v>194.291042</c:v>
                </c:pt>
                <c:pt idx="22">
                  <c:v>220.12915749999999</c:v>
                </c:pt>
                <c:pt idx="23">
                  <c:v>231.94003559999999</c:v>
                </c:pt>
                <c:pt idx="24">
                  <c:v>254.654819</c:v>
                </c:pt>
                <c:pt idx="25">
                  <c:v>255.53983299999999</c:v>
                </c:pt>
                <c:pt idx="26">
                  <c:v>217.83137790000001</c:v>
                </c:pt>
                <c:pt idx="27">
                  <c:v>189.74803600000001</c:v>
                </c:pt>
                <c:pt idx="28">
                  <c:v>244.87278670000001</c:v>
                </c:pt>
                <c:pt idx="29">
                  <c:v>251.86901109999999</c:v>
                </c:pt>
                <c:pt idx="30">
                  <c:v>236.43270899999999</c:v>
                </c:pt>
                <c:pt idx="31">
                  <c:v>245.8485967</c:v>
                </c:pt>
                <c:pt idx="32">
                  <c:v>250.60822999999999</c:v>
                </c:pt>
                <c:pt idx="33">
                  <c:v>272.02744380000001</c:v>
                </c:pt>
                <c:pt idx="34">
                  <c:v>269.23497420000001</c:v>
                </c:pt>
                <c:pt idx="35">
                  <c:v>213.04855209999999</c:v>
                </c:pt>
                <c:pt idx="36">
                  <c:v>263.88615390000001</c:v>
                </c:pt>
                <c:pt idx="37">
                  <c:v>280.5560969</c:v>
                </c:pt>
                <c:pt idx="38">
                  <c:v>297.88899839999999</c:v>
                </c:pt>
                <c:pt idx="39">
                  <c:v>260.24469269999997</c:v>
                </c:pt>
                <c:pt idx="40">
                  <c:v>260.30982890000001</c:v>
                </c:pt>
                <c:pt idx="41">
                  <c:v>265.53775239999999</c:v>
                </c:pt>
                <c:pt idx="42">
                  <c:v>275.32323880000001</c:v>
                </c:pt>
                <c:pt idx="43">
                  <c:v>253.55219070000001</c:v>
                </c:pt>
                <c:pt idx="44">
                  <c:v>246.4923105</c:v>
                </c:pt>
                <c:pt idx="45">
                  <c:v>249.81031110000001</c:v>
                </c:pt>
                <c:pt idx="46">
                  <c:v>164.28568749999999</c:v>
                </c:pt>
                <c:pt idx="47">
                  <c:v>295.40271849999999</c:v>
                </c:pt>
                <c:pt idx="48">
                  <c:v>272.1619106</c:v>
                </c:pt>
                <c:pt idx="49">
                  <c:v>277.78558609999999</c:v>
                </c:pt>
                <c:pt idx="50">
                  <c:v>202.0622396</c:v>
                </c:pt>
                <c:pt idx="51">
                  <c:v>239.0120054999999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5D7-4AD3-8233-F2E1380E8F71}"/>
            </c:ext>
          </c:extLst>
        </c:ser>
        <c:ser>
          <c:idx val="3"/>
          <c:order val="3"/>
          <c:tx>
            <c:strRef>
              <c:f>Dry_Van_LA!$E$1</c:f>
              <c:strCache>
                <c:ptCount val="1"/>
                <c:pt idx="0">
                  <c:v>5-Yr Avg</c:v>
                </c:pt>
              </c:strCache>
            </c:strRef>
          </c:tx>
          <c:spPr>
            <a:ln w="3175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Dry_Van_LA!$E$2:$E$53</c:f>
              <c:numCache>
                <c:formatCode>General</c:formatCode>
                <c:ptCount val="52"/>
                <c:pt idx="0">
                  <c:v>179.12031818446016</c:v>
                </c:pt>
                <c:pt idx="1">
                  <c:v>162.47810749994366</c:v>
                </c:pt>
                <c:pt idx="2">
                  <c:v>143.26084411879486</c:v>
                </c:pt>
                <c:pt idx="3">
                  <c:v>148.22812392871927</c:v>
                </c:pt>
                <c:pt idx="4">
                  <c:v>150.35832571204213</c:v>
                </c:pt>
                <c:pt idx="5">
                  <c:v>154.09778739385052</c:v>
                </c:pt>
                <c:pt idx="6">
                  <c:v>170.69425467330458</c:v>
                </c:pt>
                <c:pt idx="7">
                  <c:v>187.50981657894766</c:v>
                </c:pt>
                <c:pt idx="8">
                  <c:v>174.85419052397711</c:v>
                </c:pt>
                <c:pt idx="9">
                  <c:v>162.87287259217612</c:v>
                </c:pt>
                <c:pt idx="10">
                  <c:v>156.37119021438068</c:v>
                </c:pt>
                <c:pt idx="11">
                  <c:v>144.93153933475915</c:v>
                </c:pt>
                <c:pt idx="12">
                  <c:v>141.74469943643962</c:v>
                </c:pt>
                <c:pt idx="13">
                  <c:v>129.20395002330869</c:v>
                </c:pt>
                <c:pt idx="14">
                  <c:v>120.77324802231941</c:v>
                </c:pt>
                <c:pt idx="15">
                  <c:v>120.63809032386632</c:v>
                </c:pt>
                <c:pt idx="16">
                  <c:v>124.84337481450902</c:v>
                </c:pt>
                <c:pt idx="17">
                  <c:v>145.51371915452896</c:v>
                </c:pt>
                <c:pt idx="18">
                  <c:v>145.90271080728749</c:v>
                </c:pt>
                <c:pt idx="19">
                  <c:v>147.0480723767634</c:v>
                </c:pt>
                <c:pt idx="20">
                  <c:v>141.64077752590941</c:v>
                </c:pt>
                <c:pt idx="21">
                  <c:v>132.09501217627306</c:v>
                </c:pt>
                <c:pt idx="22">
                  <c:v>148.5007585705423</c:v>
                </c:pt>
                <c:pt idx="23">
                  <c:v>154.26728965532783</c:v>
                </c:pt>
                <c:pt idx="24">
                  <c:v>162.27435936671517</c:v>
                </c:pt>
                <c:pt idx="25">
                  <c:v>164.25435303244356</c:v>
                </c:pt>
                <c:pt idx="26">
                  <c:v>138.83957377706449</c:v>
                </c:pt>
                <c:pt idx="27">
                  <c:v>142.46425750830633</c:v>
                </c:pt>
                <c:pt idx="28">
                  <c:v>141.821777320698</c:v>
                </c:pt>
                <c:pt idx="29">
                  <c:v>145.33563075229557</c:v>
                </c:pt>
                <c:pt idx="30">
                  <c:v>144.42431553687695</c:v>
                </c:pt>
                <c:pt idx="31">
                  <c:v>141.14253463387553</c:v>
                </c:pt>
                <c:pt idx="32">
                  <c:v>146.37608349851072</c:v>
                </c:pt>
                <c:pt idx="33">
                  <c:v>154.24922915235823</c:v>
                </c:pt>
                <c:pt idx="34">
                  <c:v>158.927590260405</c:v>
                </c:pt>
                <c:pt idx="35">
                  <c:v>132.30162235642021</c:v>
                </c:pt>
                <c:pt idx="36">
                  <c:v>159.85124188495584</c:v>
                </c:pt>
                <c:pt idx="37">
                  <c:v>163.49689751172255</c:v>
                </c:pt>
                <c:pt idx="38">
                  <c:v>172.70133909348743</c:v>
                </c:pt>
                <c:pt idx="39">
                  <c:v>156.3555969932375</c:v>
                </c:pt>
                <c:pt idx="40">
                  <c:v>150.15388673990222</c:v>
                </c:pt>
                <c:pt idx="41">
                  <c:v>148.49658539300307</c:v>
                </c:pt>
                <c:pt idx="42">
                  <c:v>153.52848223774848</c:v>
                </c:pt>
                <c:pt idx="43">
                  <c:v>153.77457893974844</c:v>
                </c:pt>
                <c:pt idx="44">
                  <c:v>149.68757108973801</c:v>
                </c:pt>
                <c:pt idx="45">
                  <c:v>155.32300647498033</c:v>
                </c:pt>
                <c:pt idx="46">
                  <c:v>113.00626438155798</c:v>
                </c:pt>
                <c:pt idx="47">
                  <c:v>174.84729182781155</c:v>
                </c:pt>
                <c:pt idx="48">
                  <c:v>165.97538058413059</c:v>
                </c:pt>
                <c:pt idx="49">
                  <c:v>164.46612630134956</c:v>
                </c:pt>
                <c:pt idx="50">
                  <c:v>126.1108317798378</c:v>
                </c:pt>
                <c:pt idx="51">
                  <c:v>140.7213450728191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5D7-4AD3-8233-F2E1380E8F7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353840"/>
        <c:axId val="483357776"/>
      </c:lineChart>
      <c:catAx>
        <c:axId val="4833538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7776"/>
        <c:crosses val="autoZero"/>
        <c:auto val="1"/>
        <c:lblAlgn val="ctr"/>
        <c:lblOffset val="100"/>
        <c:tickLblSkip val="4"/>
        <c:noMultiLvlLbl val="0"/>
      </c:catAx>
      <c:valAx>
        <c:axId val="483357776"/>
        <c:scaling>
          <c:orientation val="minMax"/>
          <c:max val="4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3840"/>
        <c:crosses val="autoZero"/>
        <c:crossBetween val="between"/>
        <c:majorUnit val="50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7.6416411490230374E-2"/>
          <c:y val="0.78300956551954737"/>
          <c:w val="0.61271252551764366"/>
          <c:h val="6.4473978131612458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baseline="0" dirty="0">
                <a:solidFill>
                  <a:schemeClr val="tx1"/>
                </a:solidFill>
              </a:rPr>
              <a:t>Dry van spot rates</a:t>
            </a:r>
          </a:p>
          <a:p>
            <a:pPr algn="l">
              <a:defRPr/>
            </a:pPr>
            <a:r>
              <a:rPr lang="en-US" sz="1200" baseline="0" dirty="0">
                <a:solidFill>
                  <a:schemeClr val="tx1"/>
                </a:solidFill>
              </a:rPr>
              <a:t>Weekly broker-posted rate per mile</a:t>
            </a:r>
            <a:endParaRPr lang="en-US" sz="1200" u="sng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9.1160505978419362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4966176102987129E-2"/>
          <c:y val="0.11326657323316036"/>
          <c:w val="0.94358650481189854"/>
          <c:h val="0.73488757655293102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'Dry Van_Rates_Incl_Fuel'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358B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val>
            <c:numRef>
              <c:f>'Dry Van_Rates_Incl_Fuel'!$B$2:$B$53</c:f>
              <c:numCache>
                <c:formatCode>"$"#,##0.000000</c:formatCode>
                <c:ptCount val="52"/>
                <c:pt idx="0">
                  <c:v>2.3784094647385392</c:v>
                </c:pt>
                <c:pt idx="1">
                  <c:v>2.2671616311319664</c:v>
                </c:pt>
                <c:pt idx="2">
                  <c:v>2.1396739739994897</c:v>
                </c:pt>
                <c:pt idx="3">
                  <c:v>2.0814698631992417</c:v>
                </c:pt>
                <c:pt idx="4">
                  <c:v>2.0951698409426083</c:v>
                </c:pt>
                <c:pt idx="5">
                  <c:v>2.0350634589398413</c:v>
                </c:pt>
                <c:pt idx="6">
                  <c:v>2.0082472121479173</c:v>
                </c:pt>
                <c:pt idx="7">
                  <c:v>2.034870512606445</c:v>
                </c:pt>
                <c:pt idx="8">
                  <c:v>2.0766081196061728</c:v>
                </c:pt>
                <c:pt idx="9">
                  <c:v>2.027280900395442</c:v>
                </c:pt>
                <c:pt idx="10">
                  <c:v>2.0228067575577944</c:v>
                </c:pt>
                <c:pt idx="11">
                  <c:v>1.9838250728862981</c:v>
                </c:pt>
                <c:pt idx="12">
                  <c:v>1.9437232624034684</c:v>
                </c:pt>
                <c:pt idx="13">
                  <c:v>1.9240348019175311</c:v>
                </c:pt>
                <c:pt idx="14">
                  <c:v>1.8586363817493516</c:v>
                </c:pt>
                <c:pt idx="15">
                  <c:v>1.8456807533689341</c:v>
                </c:pt>
                <c:pt idx="16">
                  <c:v>1.8531390066112903</c:v>
                </c:pt>
                <c:pt idx="17">
                  <c:v>1.8433854142081656</c:v>
                </c:pt>
                <c:pt idx="18">
                  <c:v>1.832536859261215</c:v>
                </c:pt>
                <c:pt idx="19">
                  <c:v>1.9946888702208758</c:v>
                </c:pt>
                <c:pt idx="20">
                  <c:v>2.0292168474283043</c:v>
                </c:pt>
                <c:pt idx="21">
                  <c:v>2.0273948738999921</c:v>
                </c:pt>
                <c:pt idx="22">
                  <c:v>1.9877108000513677</c:v>
                </c:pt>
                <c:pt idx="23">
                  <c:v>1.9527012678083537</c:v>
                </c:pt>
                <c:pt idx="24">
                  <c:v>1.99823054613782</c:v>
                </c:pt>
                <c:pt idx="25">
                  <c:v>2.0660872452260466</c:v>
                </c:pt>
                <c:pt idx="26">
                  <c:v>2.0322607467161338</c:v>
                </c:pt>
                <c:pt idx="27">
                  <c:v>1.950254293125161</c:v>
                </c:pt>
                <c:pt idx="28">
                  <c:v>1.913834095593633</c:v>
                </c:pt>
                <c:pt idx="29">
                  <c:v>1.9105258749777925</c:v>
                </c:pt>
                <c:pt idx="30">
                  <c:v>1.9532946689710171</c:v>
                </c:pt>
                <c:pt idx="31">
                  <c:v>1.9584245967531464</c:v>
                </c:pt>
                <c:pt idx="32">
                  <c:v>1.9489616810877619</c:v>
                </c:pt>
                <c:pt idx="33">
                  <c:v>1.9622300083111968</c:v>
                </c:pt>
                <c:pt idx="34">
                  <c:v>2.0246839343125491</c:v>
                </c:pt>
                <c:pt idx="35">
                  <c:v>2.0294342951403914</c:v>
                </c:pt>
                <c:pt idx="36">
                  <c:v>1.9750719010298807</c:v>
                </c:pt>
                <c:pt idx="37">
                  <c:v>1.9548725240649698</c:v>
                </c:pt>
                <c:pt idx="38">
                  <c:v>1.9838804038124971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F84-4ADB-8AA4-248DA52F1E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83353840"/>
        <c:axId val="483357776"/>
      </c:barChart>
      <c:lineChart>
        <c:grouping val="standard"/>
        <c:varyColors val="0"/>
        <c:ser>
          <c:idx val="1"/>
          <c:order val="1"/>
          <c:tx>
            <c:strRef>
              <c:f>'Dry Van_Rates_Incl_Fuel'!$C$1</c:f>
              <c:strCache>
                <c:ptCount val="1"/>
                <c:pt idx="0">
                  <c:v>2022</c:v>
                </c:pt>
              </c:strCache>
            </c:strRef>
          </c:tx>
          <c:spPr>
            <a:ln w="31750" cap="rnd">
              <a:solidFill>
                <a:srgbClr val="00B0F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'Dry Van_Rates_Incl_Fuel'!$C$2:$C$53</c:f>
              <c:numCache>
                <c:formatCode>"$"#,##0.000000</c:formatCode>
                <c:ptCount val="52"/>
                <c:pt idx="0">
                  <c:v>3.0547960000000001</c:v>
                </c:pt>
                <c:pt idx="1">
                  <c:v>3.0308079999999999</c:v>
                </c:pt>
                <c:pt idx="2">
                  <c:v>3.0033669999999999</c:v>
                </c:pt>
                <c:pt idx="3">
                  <c:v>2.8998689999999998</c:v>
                </c:pt>
                <c:pt idx="4">
                  <c:v>2.9167169999999998</c:v>
                </c:pt>
                <c:pt idx="5">
                  <c:v>2.9299520000000001</c:v>
                </c:pt>
                <c:pt idx="6">
                  <c:v>2.8869129999999998</c:v>
                </c:pt>
                <c:pt idx="7">
                  <c:v>2.8523070000000001</c:v>
                </c:pt>
                <c:pt idx="8">
                  <c:v>2.8334809999999999</c:v>
                </c:pt>
                <c:pt idx="9">
                  <c:v>2.7584810000000002</c:v>
                </c:pt>
                <c:pt idx="10">
                  <c:v>2.7596050000000001</c:v>
                </c:pt>
                <c:pt idx="11">
                  <c:v>2.7693859999999999</c:v>
                </c:pt>
                <c:pt idx="12">
                  <c:v>2.727903</c:v>
                </c:pt>
                <c:pt idx="13">
                  <c:v>2.6569310000000002</c:v>
                </c:pt>
                <c:pt idx="14">
                  <c:v>2.5329839999999999</c:v>
                </c:pt>
                <c:pt idx="15">
                  <c:v>2.4635440000000002</c:v>
                </c:pt>
                <c:pt idx="16">
                  <c:v>2.411527</c:v>
                </c:pt>
                <c:pt idx="17">
                  <c:v>2.4228360000000002</c:v>
                </c:pt>
                <c:pt idx="18">
                  <c:v>2.3960940000000002</c:v>
                </c:pt>
                <c:pt idx="19">
                  <c:v>2.4825179999999998</c:v>
                </c:pt>
                <c:pt idx="20">
                  <c:v>2.5441060000000002</c:v>
                </c:pt>
                <c:pt idx="21">
                  <c:v>2.512203</c:v>
                </c:pt>
                <c:pt idx="22">
                  <c:v>2.4482370000000002</c:v>
                </c:pt>
                <c:pt idx="23">
                  <c:v>2.445764</c:v>
                </c:pt>
                <c:pt idx="24">
                  <c:v>2.4543509999999999</c:v>
                </c:pt>
                <c:pt idx="25">
                  <c:v>2.51336</c:v>
                </c:pt>
                <c:pt idx="26">
                  <c:v>2.45723</c:v>
                </c:pt>
                <c:pt idx="27">
                  <c:v>2.474701</c:v>
                </c:pt>
                <c:pt idx="28">
                  <c:v>2.398603</c:v>
                </c:pt>
                <c:pt idx="29">
                  <c:v>2.297288</c:v>
                </c:pt>
                <c:pt idx="30">
                  <c:v>2.2877390000000002</c:v>
                </c:pt>
                <c:pt idx="31">
                  <c:v>2.2509700000000001</c:v>
                </c:pt>
                <c:pt idx="32">
                  <c:v>2.175001</c:v>
                </c:pt>
                <c:pt idx="33">
                  <c:v>2.1853440000000002</c:v>
                </c:pt>
                <c:pt idx="34">
                  <c:v>2.2385039999999998</c:v>
                </c:pt>
                <c:pt idx="35">
                  <c:v>2.236939</c:v>
                </c:pt>
                <c:pt idx="36">
                  <c:v>2.15754</c:v>
                </c:pt>
                <c:pt idx="37">
                  <c:v>2.126201</c:v>
                </c:pt>
                <c:pt idx="38">
                  <c:v>2.1391580000000001</c:v>
                </c:pt>
                <c:pt idx="39">
                  <c:v>2.1687720000000001</c:v>
                </c:pt>
                <c:pt idx="40">
                  <c:v>2.16703</c:v>
                </c:pt>
                <c:pt idx="41">
                  <c:v>2.1375190000000002</c:v>
                </c:pt>
                <c:pt idx="42">
                  <c:v>2.0893410000000001</c:v>
                </c:pt>
                <c:pt idx="43">
                  <c:v>2.0949970000000002</c:v>
                </c:pt>
                <c:pt idx="44">
                  <c:v>2.0740029999999998</c:v>
                </c:pt>
                <c:pt idx="45">
                  <c:v>2.13734</c:v>
                </c:pt>
                <c:pt idx="46">
                  <c:v>2.2115450000000001</c:v>
                </c:pt>
                <c:pt idx="47">
                  <c:v>2.2367010000000001</c:v>
                </c:pt>
                <c:pt idx="48">
                  <c:v>2.1830150000000001</c:v>
                </c:pt>
                <c:pt idx="49">
                  <c:v>2.182712</c:v>
                </c:pt>
                <c:pt idx="50">
                  <c:v>2.360179</c:v>
                </c:pt>
                <c:pt idx="51">
                  <c:v>2.425193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F84-4ADB-8AA4-248DA52F1E0B}"/>
            </c:ext>
          </c:extLst>
        </c:ser>
        <c:ser>
          <c:idx val="2"/>
          <c:order val="2"/>
          <c:tx>
            <c:strRef>
              <c:f>'Dry Van_Rates_Incl_Fuel'!$D$1</c:f>
              <c:strCache>
                <c:ptCount val="1"/>
                <c:pt idx="0">
                  <c:v>2021</c:v>
                </c:pt>
              </c:strCache>
            </c:strRef>
          </c:tx>
          <c:spPr>
            <a:ln w="31750" cap="rnd">
              <a:solidFill>
                <a:srgbClr val="C0000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'Dry Van_Rates_Incl_Fuel'!$D$2:$D$53</c:f>
              <c:numCache>
                <c:formatCode>"$"#,##0.000000</c:formatCode>
                <c:ptCount val="52"/>
                <c:pt idx="0">
                  <c:v>2.5848260000000001</c:v>
                </c:pt>
                <c:pt idx="1">
                  <c:v>2.4196930000000001</c:v>
                </c:pt>
                <c:pt idx="2">
                  <c:v>2.2203780000000002</c:v>
                </c:pt>
                <c:pt idx="3">
                  <c:v>2.2431480000000001</c:v>
                </c:pt>
                <c:pt idx="4">
                  <c:v>2.3069269999999999</c:v>
                </c:pt>
                <c:pt idx="5">
                  <c:v>2.341793</c:v>
                </c:pt>
                <c:pt idx="6">
                  <c:v>2.4870580000000002</c:v>
                </c:pt>
                <c:pt idx="7">
                  <c:v>2.6746349999999999</c:v>
                </c:pt>
                <c:pt idx="8">
                  <c:v>2.6769479999999999</c:v>
                </c:pt>
                <c:pt idx="9">
                  <c:v>2.607742</c:v>
                </c:pt>
                <c:pt idx="10">
                  <c:v>2.575485</c:v>
                </c:pt>
                <c:pt idx="11">
                  <c:v>2.5325869999999999</c:v>
                </c:pt>
                <c:pt idx="12">
                  <c:v>2.616422</c:v>
                </c:pt>
                <c:pt idx="13">
                  <c:v>2.586392</c:v>
                </c:pt>
                <c:pt idx="14">
                  <c:v>2.547917</c:v>
                </c:pt>
                <c:pt idx="15">
                  <c:v>2.5033310000000002</c:v>
                </c:pt>
                <c:pt idx="16">
                  <c:v>2.5392420000000002</c:v>
                </c:pt>
                <c:pt idx="17">
                  <c:v>2.6981470000000001</c:v>
                </c:pt>
                <c:pt idx="18">
                  <c:v>2.7096290000000001</c:v>
                </c:pt>
                <c:pt idx="19">
                  <c:v>2.7150669999999999</c:v>
                </c:pt>
                <c:pt idx="20">
                  <c:v>2.8218160000000001</c:v>
                </c:pt>
                <c:pt idx="21">
                  <c:v>2.7742149999999999</c:v>
                </c:pt>
                <c:pt idx="22">
                  <c:v>2.713511</c:v>
                </c:pt>
                <c:pt idx="23">
                  <c:v>2.6961719999999998</c:v>
                </c:pt>
                <c:pt idx="24">
                  <c:v>2.7721439999999999</c:v>
                </c:pt>
                <c:pt idx="25">
                  <c:v>2.8434599999999999</c:v>
                </c:pt>
                <c:pt idx="26">
                  <c:v>2.7287729999999999</c:v>
                </c:pt>
                <c:pt idx="27">
                  <c:v>2.718512</c:v>
                </c:pt>
                <c:pt idx="28">
                  <c:v>2.6775440000000001</c:v>
                </c:pt>
                <c:pt idx="29">
                  <c:v>2.704313</c:v>
                </c:pt>
                <c:pt idx="30">
                  <c:v>2.7222140000000001</c:v>
                </c:pt>
                <c:pt idx="31">
                  <c:v>2.6295920000000002</c:v>
                </c:pt>
                <c:pt idx="32">
                  <c:v>2.6554090000000001</c:v>
                </c:pt>
                <c:pt idx="33">
                  <c:v>2.7429679999999999</c:v>
                </c:pt>
                <c:pt idx="34">
                  <c:v>2.8700459999999999</c:v>
                </c:pt>
                <c:pt idx="35">
                  <c:v>2.8632580000000001</c:v>
                </c:pt>
                <c:pt idx="36">
                  <c:v>2.7809699999999999</c:v>
                </c:pt>
                <c:pt idx="37">
                  <c:v>2.752472</c:v>
                </c:pt>
                <c:pt idx="38">
                  <c:v>2.7859889999999998</c:v>
                </c:pt>
                <c:pt idx="39">
                  <c:v>2.7749540000000001</c:v>
                </c:pt>
                <c:pt idx="40">
                  <c:v>2.7361140000000002</c:v>
                </c:pt>
                <c:pt idx="41">
                  <c:v>2.7402929999999999</c:v>
                </c:pt>
                <c:pt idx="42">
                  <c:v>2.8244069999999999</c:v>
                </c:pt>
                <c:pt idx="43">
                  <c:v>2.7836630000000002</c:v>
                </c:pt>
                <c:pt idx="44">
                  <c:v>2.7532770000000002</c:v>
                </c:pt>
                <c:pt idx="45">
                  <c:v>2.7888410000000001</c:v>
                </c:pt>
                <c:pt idx="46">
                  <c:v>2.9242340000000002</c:v>
                </c:pt>
                <c:pt idx="47">
                  <c:v>2.9338320000000002</c:v>
                </c:pt>
                <c:pt idx="48">
                  <c:v>2.7330930000000002</c:v>
                </c:pt>
                <c:pt idx="49">
                  <c:v>2.745269</c:v>
                </c:pt>
                <c:pt idx="50">
                  <c:v>2.9413360000000002</c:v>
                </c:pt>
                <c:pt idx="51">
                  <c:v>3.089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6F84-4ADB-8AA4-248DA52F1E0B}"/>
            </c:ext>
          </c:extLst>
        </c:ser>
        <c:ser>
          <c:idx val="3"/>
          <c:order val="3"/>
          <c:tx>
            <c:strRef>
              <c:f>'Dry Van_Rates_Incl_Fuel'!$E$1</c:f>
              <c:strCache>
                <c:ptCount val="1"/>
                <c:pt idx="0">
                  <c:v>5-Yr Avg</c:v>
                </c:pt>
              </c:strCache>
            </c:strRef>
          </c:tx>
          <c:spPr>
            <a:ln w="3175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'Dry Van_Rates_Incl_Fuel'!$E$2:$E$53</c:f>
              <c:numCache>
                <c:formatCode>"$"#,##0.000000</c:formatCode>
                <c:ptCount val="52"/>
                <c:pt idx="0">
                  <c:v>2.3453723030571032</c:v>
                </c:pt>
                <c:pt idx="1">
                  <c:v>2.2533088974823707</c:v>
                </c:pt>
                <c:pt idx="2">
                  <c:v>2.1435880732222317</c:v>
                </c:pt>
                <c:pt idx="3">
                  <c:v>2.106218759587545</c:v>
                </c:pt>
                <c:pt idx="4">
                  <c:v>2.1213266108005469</c:v>
                </c:pt>
                <c:pt idx="5">
                  <c:v>2.1256856365321886</c:v>
                </c:pt>
                <c:pt idx="6">
                  <c:v>2.1638057303679767</c:v>
                </c:pt>
                <c:pt idx="7">
                  <c:v>2.2050369766014128</c:v>
                </c:pt>
                <c:pt idx="8">
                  <c:v>2.2155893070444685</c:v>
                </c:pt>
                <c:pt idx="9">
                  <c:v>2.1909980194571514</c:v>
                </c:pt>
                <c:pt idx="10">
                  <c:v>2.2031193275394521</c:v>
                </c:pt>
                <c:pt idx="11">
                  <c:v>2.1871489375658828</c:v>
                </c:pt>
                <c:pt idx="12">
                  <c:v>2.17966460354637</c:v>
                </c:pt>
                <c:pt idx="13">
                  <c:v>2.1078670772009134</c:v>
                </c:pt>
                <c:pt idx="14">
                  <c:v>2.0296242832349773</c:v>
                </c:pt>
                <c:pt idx="15">
                  <c:v>1.9926880566369038</c:v>
                </c:pt>
                <c:pt idx="16">
                  <c:v>1.9948209160305708</c:v>
                </c:pt>
                <c:pt idx="17">
                  <c:v>2.0599523015130514</c:v>
                </c:pt>
                <c:pt idx="18">
                  <c:v>2.0733430993341253</c:v>
                </c:pt>
                <c:pt idx="19">
                  <c:v>2.1279676015604148</c:v>
                </c:pt>
                <c:pt idx="20">
                  <c:v>2.172459165903621</c:v>
                </c:pt>
                <c:pt idx="21">
                  <c:v>2.1840383473596727</c:v>
                </c:pt>
                <c:pt idx="22">
                  <c:v>2.185223745484699</c:v>
                </c:pt>
                <c:pt idx="23">
                  <c:v>2.1771509933820008</c:v>
                </c:pt>
                <c:pt idx="24">
                  <c:v>2.2310322924035129</c:v>
                </c:pt>
                <c:pt idx="25">
                  <c:v>2.2994134845258527</c:v>
                </c:pt>
                <c:pt idx="26">
                  <c:v>2.2292686764830685</c:v>
                </c:pt>
                <c:pt idx="27">
                  <c:v>2.1992843681729104</c:v>
                </c:pt>
                <c:pt idx="28">
                  <c:v>2.1506735265343977</c:v>
                </c:pt>
                <c:pt idx="29">
                  <c:v>2.1501028285288513</c:v>
                </c:pt>
                <c:pt idx="30">
                  <c:v>2.1749479302025625</c:v>
                </c:pt>
                <c:pt idx="31">
                  <c:v>2.1416025095006637</c:v>
                </c:pt>
                <c:pt idx="32">
                  <c:v>2.1320535624447108</c:v>
                </c:pt>
                <c:pt idx="33">
                  <c:v>2.163646001126847</c:v>
                </c:pt>
                <c:pt idx="34">
                  <c:v>2.2397776179800961</c:v>
                </c:pt>
                <c:pt idx="35">
                  <c:v>2.2459968143259852</c:v>
                </c:pt>
                <c:pt idx="36">
                  <c:v>2.1812234705186078</c:v>
                </c:pt>
                <c:pt idx="37">
                  <c:v>2.1544191960427335</c:v>
                </c:pt>
                <c:pt idx="38">
                  <c:v>2.175953944214549</c:v>
                </c:pt>
                <c:pt idx="39">
                  <c:v>2.1694033597576756</c:v>
                </c:pt>
                <c:pt idx="40">
                  <c:v>2.1478463864892823</c:v>
                </c:pt>
                <c:pt idx="41">
                  <c:v>2.1305177162262154</c:v>
                </c:pt>
                <c:pt idx="42">
                  <c:v>2.1341336176574206</c:v>
                </c:pt>
                <c:pt idx="43">
                  <c:v>2.1462296862400674</c:v>
                </c:pt>
                <c:pt idx="44">
                  <c:v>2.149550894307513</c:v>
                </c:pt>
                <c:pt idx="45">
                  <c:v>2.1982859438976181</c:v>
                </c:pt>
                <c:pt idx="46">
                  <c:v>2.278346238068893</c:v>
                </c:pt>
                <c:pt idx="47">
                  <c:v>2.2900615283659325</c:v>
                </c:pt>
                <c:pt idx="48">
                  <c:v>2.210865088985456</c:v>
                </c:pt>
                <c:pt idx="49">
                  <c:v>2.1900150973246797</c:v>
                </c:pt>
                <c:pt idx="50">
                  <c:v>2.350301857826004</c:v>
                </c:pt>
                <c:pt idx="51">
                  <c:v>2.415042761406663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6F84-4ADB-8AA4-248DA52F1E0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353840"/>
        <c:axId val="483357776"/>
      </c:lineChart>
      <c:catAx>
        <c:axId val="4833538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7776"/>
        <c:crosses val="autoZero"/>
        <c:auto val="1"/>
        <c:lblAlgn val="ctr"/>
        <c:lblOffset val="100"/>
        <c:tickLblSkip val="4"/>
        <c:noMultiLvlLbl val="0"/>
      </c:catAx>
      <c:valAx>
        <c:axId val="483357776"/>
        <c:scaling>
          <c:orientation val="minMax"/>
          <c:max val="3.5"/>
          <c:min val="1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3840"/>
        <c:crosses val="autoZero"/>
        <c:crossBetween val="between"/>
        <c:majorUnit val="0.25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9.7598972003499568E-2"/>
          <c:y val="0.77206911636045494"/>
          <c:w val="0.60159959171770205"/>
          <c:h val="7.1801618547681537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8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Loadings originated,</a:t>
            </a:r>
            <a:r>
              <a:rPr lang="en-US" sz="1400" baseline="0" dirty="0">
                <a:solidFill>
                  <a:schemeClr val="tx1"/>
                </a:solidFill>
              </a:rPr>
              <a:t> monthly, seasonally adjusted</a:t>
            </a:r>
            <a:endParaRPr lang="en-US" sz="14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7.8589904522804177E-2"/>
          <c:y val="1.66666666666666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8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6876069839096201E-2"/>
          <c:y val="8.2680664916885374E-2"/>
          <c:w val="0.89893681768039868"/>
          <c:h val="0.73425874890638676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adings History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Pt>
            <c:idx val="3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613D-E54A-9BA6-CC833435284D}"/>
              </c:ext>
            </c:extLst>
          </c:dPt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308</c:f>
              <c:numCache>
                <c:formatCode>[$-409]mmm\-yy;@</c:formatCode>
                <c:ptCount val="307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  <c:pt idx="300">
                  <c:v>45658</c:v>
                </c:pt>
                <c:pt idx="301">
                  <c:v>45689</c:v>
                </c:pt>
                <c:pt idx="302">
                  <c:v>45717</c:v>
                </c:pt>
                <c:pt idx="303">
                  <c:v>45748</c:v>
                </c:pt>
                <c:pt idx="304">
                  <c:v>45778</c:v>
                </c:pt>
                <c:pt idx="305">
                  <c:v>45809</c:v>
                </c:pt>
                <c:pt idx="306">
                  <c:v>45839</c:v>
                </c:pt>
              </c:numCache>
            </c:numRef>
          </c:cat>
          <c:val>
            <c:numRef>
              <c:f>Sheet1!$B$2:$B$308</c:f>
              <c:numCache>
                <c:formatCode>_(* #,##0_);_(* \(#,##0\);_(* "-"??_);_(@_)</c:formatCode>
                <c:ptCount val="307"/>
                <c:pt idx="0">
                  <c:v>19389852.185584582</c:v>
                </c:pt>
                <c:pt idx="1">
                  <c:v>19317177.600830171</c:v>
                </c:pt>
                <c:pt idx="2">
                  <c:v>19337133.24817412</c:v>
                </c:pt>
                <c:pt idx="3">
                  <c:v>19439404.419520445</c:v>
                </c:pt>
                <c:pt idx="4">
                  <c:v>19265952.468070779</c:v>
                </c:pt>
                <c:pt idx="5">
                  <c:v>19224066.165507499</c:v>
                </c:pt>
                <c:pt idx="6">
                  <c:v>19092593.246247437</c:v>
                </c:pt>
                <c:pt idx="7">
                  <c:v>18910607.485662196</c:v>
                </c:pt>
                <c:pt idx="8">
                  <c:v>19007722.612349693</c:v>
                </c:pt>
                <c:pt idx="9">
                  <c:v>18958310.164411411</c:v>
                </c:pt>
                <c:pt idx="10">
                  <c:v>18720614.620636899</c:v>
                </c:pt>
                <c:pt idx="11">
                  <c:v>18571671.381543975</c:v>
                </c:pt>
                <c:pt idx="12">
                  <c:v>18420449.152079575</c:v>
                </c:pt>
                <c:pt idx="13">
                  <c:v>18349229.308862045</c:v>
                </c:pt>
                <c:pt idx="14">
                  <c:v>18364530.368139442</c:v>
                </c:pt>
                <c:pt idx="15">
                  <c:v>18401480.839882314</c:v>
                </c:pt>
                <c:pt idx="16">
                  <c:v>18344404.579394221</c:v>
                </c:pt>
                <c:pt idx="17">
                  <c:v>18264843.775409225</c:v>
                </c:pt>
                <c:pt idx="18">
                  <c:v>17945581.952498283</c:v>
                </c:pt>
                <c:pt idx="19">
                  <c:v>17958375.955545675</c:v>
                </c:pt>
                <c:pt idx="20">
                  <c:v>17759927.011584345</c:v>
                </c:pt>
                <c:pt idx="21">
                  <c:v>17644436.412413988</c:v>
                </c:pt>
                <c:pt idx="22">
                  <c:v>17738124.681597363</c:v>
                </c:pt>
                <c:pt idx="23">
                  <c:v>17801128.090109102</c:v>
                </c:pt>
                <c:pt idx="24">
                  <c:v>17765910.871823102</c:v>
                </c:pt>
                <c:pt idx="25">
                  <c:v>17793125.099826522</c:v>
                </c:pt>
                <c:pt idx="26">
                  <c:v>17934487.66275594</c:v>
                </c:pt>
                <c:pt idx="27">
                  <c:v>18185161.847541861</c:v>
                </c:pt>
                <c:pt idx="28">
                  <c:v>18297620.389161587</c:v>
                </c:pt>
                <c:pt idx="29">
                  <c:v>18439827.924155936</c:v>
                </c:pt>
                <c:pt idx="30">
                  <c:v>18207449.779534422</c:v>
                </c:pt>
                <c:pt idx="31">
                  <c:v>18221406.463374421</c:v>
                </c:pt>
                <c:pt idx="32">
                  <c:v>18259631.671485618</c:v>
                </c:pt>
                <c:pt idx="33">
                  <c:v>18113000.736346234</c:v>
                </c:pt>
                <c:pt idx="34">
                  <c:v>18293207.760525156</c:v>
                </c:pt>
                <c:pt idx="35">
                  <c:v>18063948.452234335</c:v>
                </c:pt>
                <c:pt idx="36">
                  <c:v>18398654.36740496</c:v>
                </c:pt>
                <c:pt idx="37">
                  <c:v>18355327.772965282</c:v>
                </c:pt>
                <c:pt idx="38">
                  <c:v>18298143.3489957</c:v>
                </c:pt>
                <c:pt idx="39">
                  <c:v>18046602.036364842</c:v>
                </c:pt>
                <c:pt idx="40">
                  <c:v>18014310.28566172</c:v>
                </c:pt>
                <c:pt idx="41">
                  <c:v>18127445.833740298</c:v>
                </c:pt>
                <c:pt idx="42">
                  <c:v>17877880.393989854</c:v>
                </c:pt>
                <c:pt idx="43">
                  <c:v>17876957.613274761</c:v>
                </c:pt>
                <c:pt idx="44">
                  <c:v>17975408.128304482</c:v>
                </c:pt>
                <c:pt idx="45">
                  <c:v>17747023.792340692</c:v>
                </c:pt>
                <c:pt idx="46">
                  <c:v>17863834.043183416</c:v>
                </c:pt>
                <c:pt idx="47">
                  <c:v>17818065.062893823</c:v>
                </c:pt>
                <c:pt idx="48">
                  <c:v>18327942.965828933</c:v>
                </c:pt>
                <c:pt idx="49">
                  <c:v>18395921.442785528</c:v>
                </c:pt>
                <c:pt idx="50">
                  <c:v>18285661.826423459</c:v>
                </c:pt>
                <c:pt idx="51">
                  <c:v>18286622.867685176</c:v>
                </c:pt>
                <c:pt idx="52">
                  <c:v>18368308.299953643</c:v>
                </c:pt>
                <c:pt idx="53">
                  <c:v>18126122.741101474</c:v>
                </c:pt>
                <c:pt idx="54">
                  <c:v>18421426.653132316</c:v>
                </c:pt>
                <c:pt idx="55">
                  <c:v>18426508.110454485</c:v>
                </c:pt>
                <c:pt idx="56">
                  <c:v>18446925.223618984</c:v>
                </c:pt>
                <c:pt idx="57">
                  <c:v>18920749.642009325</c:v>
                </c:pt>
                <c:pt idx="58">
                  <c:v>18778372.036669336</c:v>
                </c:pt>
                <c:pt idx="59">
                  <c:v>18963911.83741039</c:v>
                </c:pt>
                <c:pt idx="60">
                  <c:v>18932522.191547595</c:v>
                </c:pt>
                <c:pt idx="61">
                  <c:v>19009430.746445771</c:v>
                </c:pt>
                <c:pt idx="62">
                  <c:v>18789224.774583783</c:v>
                </c:pt>
                <c:pt idx="63">
                  <c:v>18584434.440258753</c:v>
                </c:pt>
                <c:pt idx="64">
                  <c:v>18502987.159891527</c:v>
                </c:pt>
                <c:pt idx="65">
                  <c:v>18557794.94297995</c:v>
                </c:pt>
                <c:pt idx="66">
                  <c:v>18210944.451286428</c:v>
                </c:pt>
                <c:pt idx="67">
                  <c:v>18325527.24645121</c:v>
                </c:pt>
                <c:pt idx="68">
                  <c:v>18265280.011563756</c:v>
                </c:pt>
                <c:pt idx="69">
                  <c:v>18162078.208039403</c:v>
                </c:pt>
                <c:pt idx="70">
                  <c:v>18093074.297274169</c:v>
                </c:pt>
                <c:pt idx="71">
                  <c:v>18023718.221984178</c:v>
                </c:pt>
                <c:pt idx="72">
                  <c:v>18520571.686460655</c:v>
                </c:pt>
                <c:pt idx="73">
                  <c:v>18404950.360078808</c:v>
                </c:pt>
                <c:pt idx="74">
                  <c:v>18355983.407662943</c:v>
                </c:pt>
                <c:pt idx="75">
                  <c:v>18731696.622714445</c:v>
                </c:pt>
                <c:pt idx="76">
                  <c:v>18610965.11085996</c:v>
                </c:pt>
                <c:pt idx="77">
                  <c:v>18567263.984319203</c:v>
                </c:pt>
                <c:pt idx="78">
                  <c:v>18484119.94604259</c:v>
                </c:pt>
                <c:pt idx="79">
                  <c:v>18623545.358914182</c:v>
                </c:pt>
                <c:pt idx="80">
                  <c:v>18574452.15927662</c:v>
                </c:pt>
                <c:pt idx="81">
                  <c:v>18607255.960501216</c:v>
                </c:pt>
                <c:pt idx="82">
                  <c:v>18651052.693250053</c:v>
                </c:pt>
                <c:pt idx="83">
                  <c:v>19033667.658222977</c:v>
                </c:pt>
                <c:pt idx="84">
                  <c:v>18420133.919842359</c:v>
                </c:pt>
                <c:pt idx="85">
                  <c:v>18511409.530946553</c:v>
                </c:pt>
                <c:pt idx="86">
                  <c:v>18550501.6675511</c:v>
                </c:pt>
                <c:pt idx="87">
                  <c:v>18628823.587753408</c:v>
                </c:pt>
                <c:pt idx="88">
                  <c:v>18521793.401416019</c:v>
                </c:pt>
                <c:pt idx="89">
                  <c:v>18542735.545420635</c:v>
                </c:pt>
                <c:pt idx="90">
                  <c:v>18343078.597762723</c:v>
                </c:pt>
                <c:pt idx="91">
                  <c:v>18224466.359789915</c:v>
                </c:pt>
                <c:pt idx="92">
                  <c:v>18178429.249388464</c:v>
                </c:pt>
                <c:pt idx="93">
                  <c:v>17939489.83962407</c:v>
                </c:pt>
                <c:pt idx="94">
                  <c:v>18014524.349480633</c:v>
                </c:pt>
                <c:pt idx="95">
                  <c:v>18023848.14236876</c:v>
                </c:pt>
                <c:pt idx="96">
                  <c:v>18022690.888500147</c:v>
                </c:pt>
                <c:pt idx="97">
                  <c:v>17933057.425438657</c:v>
                </c:pt>
                <c:pt idx="98">
                  <c:v>17819804.584098108</c:v>
                </c:pt>
                <c:pt idx="99">
                  <c:v>17720791.971121453</c:v>
                </c:pt>
                <c:pt idx="100">
                  <c:v>17563245.869973201</c:v>
                </c:pt>
                <c:pt idx="101">
                  <c:v>17484672.417723577</c:v>
                </c:pt>
                <c:pt idx="102">
                  <c:v>17396086.528464705</c:v>
                </c:pt>
                <c:pt idx="103">
                  <c:v>17067613.479362577</c:v>
                </c:pt>
                <c:pt idx="104">
                  <c:v>16721890.160130166</c:v>
                </c:pt>
                <c:pt idx="105">
                  <c:v>16562374.126461565</c:v>
                </c:pt>
                <c:pt idx="106">
                  <c:v>16399996.763184197</c:v>
                </c:pt>
                <c:pt idx="107">
                  <c:v>15790956.428619834</c:v>
                </c:pt>
                <c:pt idx="108">
                  <c:v>15456637.481510546</c:v>
                </c:pt>
                <c:pt idx="109">
                  <c:v>15421883.367466038</c:v>
                </c:pt>
                <c:pt idx="110">
                  <c:v>15287133.247970503</c:v>
                </c:pt>
                <c:pt idx="111">
                  <c:v>14794390.201093219</c:v>
                </c:pt>
                <c:pt idx="112">
                  <c:v>14748468.333075067</c:v>
                </c:pt>
                <c:pt idx="113">
                  <c:v>14572401.087489588</c:v>
                </c:pt>
                <c:pt idx="114">
                  <c:v>14876577.820679296</c:v>
                </c:pt>
                <c:pt idx="115">
                  <c:v>15016766.891169926</c:v>
                </c:pt>
                <c:pt idx="116">
                  <c:v>15236874.053305209</c:v>
                </c:pt>
                <c:pt idx="117">
                  <c:v>14946812.015486352</c:v>
                </c:pt>
                <c:pt idx="118">
                  <c:v>15095483.301548522</c:v>
                </c:pt>
                <c:pt idx="119">
                  <c:v>15024640.420944333</c:v>
                </c:pt>
                <c:pt idx="120">
                  <c:v>15359444.938671313</c:v>
                </c:pt>
                <c:pt idx="121">
                  <c:v>15347417.888921795</c:v>
                </c:pt>
                <c:pt idx="122">
                  <c:v>15434175.058794864</c:v>
                </c:pt>
                <c:pt idx="123">
                  <c:v>15690940.086301174</c:v>
                </c:pt>
                <c:pt idx="124">
                  <c:v>15964005.266610065</c:v>
                </c:pt>
                <c:pt idx="125">
                  <c:v>15818911.365602311</c:v>
                </c:pt>
                <c:pt idx="126">
                  <c:v>16138630.322163386</c:v>
                </c:pt>
                <c:pt idx="127">
                  <c:v>16160826.438734842</c:v>
                </c:pt>
                <c:pt idx="128">
                  <c:v>16228858.744188119</c:v>
                </c:pt>
                <c:pt idx="129">
                  <c:v>16577748.380872073</c:v>
                </c:pt>
                <c:pt idx="130">
                  <c:v>16482856.304701425</c:v>
                </c:pt>
                <c:pt idx="131">
                  <c:v>16579350.091865487</c:v>
                </c:pt>
                <c:pt idx="132">
                  <c:v>16191838.771864403</c:v>
                </c:pt>
                <c:pt idx="133">
                  <c:v>16365891.627546627</c:v>
                </c:pt>
                <c:pt idx="134">
                  <c:v>16566866.338799525</c:v>
                </c:pt>
                <c:pt idx="135">
                  <c:v>16252200.019456774</c:v>
                </c:pt>
                <c:pt idx="136">
                  <c:v>16235673.857599642</c:v>
                </c:pt>
                <c:pt idx="137">
                  <c:v>16221724.32911136</c:v>
                </c:pt>
                <c:pt idx="138">
                  <c:v>16300549.421421904</c:v>
                </c:pt>
                <c:pt idx="139">
                  <c:v>16384038.2085086</c:v>
                </c:pt>
                <c:pt idx="140">
                  <c:v>16509115.964283874</c:v>
                </c:pt>
                <c:pt idx="141">
                  <c:v>16602775.18447252</c:v>
                </c:pt>
                <c:pt idx="142">
                  <c:v>16499994.900032748</c:v>
                </c:pt>
                <c:pt idx="143">
                  <c:v>16671129.649793684</c:v>
                </c:pt>
                <c:pt idx="144">
                  <c:v>16422179.635422969</c:v>
                </c:pt>
                <c:pt idx="145">
                  <c:v>16500940.231069738</c:v>
                </c:pt>
                <c:pt idx="146">
                  <c:v>16455329.826792814</c:v>
                </c:pt>
                <c:pt idx="147">
                  <c:v>17047986.279772151</c:v>
                </c:pt>
                <c:pt idx="148">
                  <c:v>17064279.920832679</c:v>
                </c:pt>
                <c:pt idx="149">
                  <c:v>17109334.275273271</c:v>
                </c:pt>
                <c:pt idx="150">
                  <c:v>17215927.612027932</c:v>
                </c:pt>
                <c:pt idx="151">
                  <c:v>17243165.100526936</c:v>
                </c:pt>
                <c:pt idx="152">
                  <c:v>17140468.487344615</c:v>
                </c:pt>
                <c:pt idx="153">
                  <c:v>17052749.567860499</c:v>
                </c:pt>
                <c:pt idx="154">
                  <c:v>17205714.795419022</c:v>
                </c:pt>
                <c:pt idx="155">
                  <c:v>17348805.167197708</c:v>
                </c:pt>
                <c:pt idx="156">
                  <c:v>17121625.937006246</c:v>
                </c:pt>
                <c:pt idx="157">
                  <c:v>17267350.769411508</c:v>
                </c:pt>
                <c:pt idx="158">
                  <c:v>17232034.202867799</c:v>
                </c:pt>
                <c:pt idx="159">
                  <c:v>17455421.166479304</c:v>
                </c:pt>
                <c:pt idx="160">
                  <c:v>17499313.155331999</c:v>
                </c:pt>
                <c:pt idx="161">
                  <c:v>17577229.124611281</c:v>
                </c:pt>
                <c:pt idx="162">
                  <c:v>17368064.583306462</c:v>
                </c:pt>
                <c:pt idx="163">
                  <c:v>17552285.09045516</c:v>
                </c:pt>
                <c:pt idx="164">
                  <c:v>17614664.19298337</c:v>
                </c:pt>
                <c:pt idx="165">
                  <c:v>17402039.579926241</c:v>
                </c:pt>
                <c:pt idx="166">
                  <c:v>17511240.377827078</c:v>
                </c:pt>
                <c:pt idx="167">
                  <c:v>17532761.116244677</c:v>
                </c:pt>
                <c:pt idx="168">
                  <c:v>17402967.483666085</c:v>
                </c:pt>
                <c:pt idx="169">
                  <c:v>17645790.649398997</c:v>
                </c:pt>
                <c:pt idx="170">
                  <c:v>17755460.859906308</c:v>
                </c:pt>
                <c:pt idx="171">
                  <c:v>18091254.679094952</c:v>
                </c:pt>
                <c:pt idx="172">
                  <c:v>18182207.875906624</c:v>
                </c:pt>
                <c:pt idx="173">
                  <c:v>18335818.856491674</c:v>
                </c:pt>
                <c:pt idx="174">
                  <c:v>18364326.240397215</c:v>
                </c:pt>
                <c:pt idx="175">
                  <c:v>18230323.914752677</c:v>
                </c:pt>
                <c:pt idx="176">
                  <c:v>18241027.459933884</c:v>
                </c:pt>
                <c:pt idx="177">
                  <c:v>18501260.515273958</c:v>
                </c:pt>
                <c:pt idx="178">
                  <c:v>18640317.724925518</c:v>
                </c:pt>
                <c:pt idx="179">
                  <c:v>18623674.343570903</c:v>
                </c:pt>
                <c:pt idx="180">
                  <c:v>18649742.035389058</c:v>
                </c:pt>
                <c:pt idx="181">
                  <c:v>18384228.545502983</c:v>
                </c:pt>
                <c:pt idx="182">
                  <c:v>18623473.008188091</c:v>
                </c:pt>
                <c:pt idx="183">
                  <c:v>18768299.436588936</c:v>
                </c:pt>
                <c:pt idx="184">
                  <c:v>18888761.892613109</c:v>
                </c:pt>
                <c:pt idx="185">
                  <c:v>18687572.159162428</c:v>
                </c:pt>
                <c:pt idx="186">
                  <c:v>18662032.791952949</c:v>
                </c:pt>
                <c:pt idx="187">
                  <c:v>18449966.149808526</c:v>
                </c:pt>
                <c:pt idx="188">
                  <c:v>18520313.263661943</c:v>
                </c:pt>
                <c:pt idx="189">
                  <c:v>18331355.525505085</c:v>
                </c:pt>
                <c:pt idx="190">
                  <c:v>18207026.905727223</c:v>
                </c:pt>
                <c:pt idx="191">
                  <c:v>18141765.086877659</c:v>
                </c:pt>
                <c:pt idx="192">
                  <c:v>18700152.281134292</c:v>
                </c:pt>
                <c:pt idx="193">
                  <c:v>18524749.061372858</c:v>
                </c:pt>
                <c:pt idx="194">
                  <c:v>18500564.766647618</c:v>
                </c:pt>
                <c:pt idx="195">
                  <c:v>19146699.436761484</c:v>
                </c:pt>
                <c:pt idx="196">
                  <c:v>19174404.506389223</c:v>
                </c:pt>
                <c:pt idx="197">
                  <c:v>19332528.569690906</c:v>
                </c:pt>
                <c:pt idx="198">
                  <c:v>19864982.000376191</c:v>
                </c:pt>
                <c:pt idx="199">
                  <c:v>19712687.09866146</c:v>
                </c:pt>
                <c:pt idx="200">
                  <c:v>19658403.537935246</c:v>
                </c:pt>
                <c:pt idx="201">
                  <c:v>19936007.108281821</c:v>
                </c:pt>
                <c:pt idx="202">
                  <c:v>19929190.145282824</c:v>
                </c:pt>
                <c:pt idx="203">
                  <c:v>19977240.81314626</c:v>
                </c:pt>
                <c:pt idx="204">
                  <c:v>20386266.981975794</c:v>
                </c:pt>
                <c:pt idx="205">
                  <c:v>20325942.186487559</c:v>
                </c:pt>
                <c:pt idx="206">
                  <c:v>20206788.915968183</c:v>
                </c:pt>
                <c:pt idx="207">
                  <c:v>20446323.769922141</c:v>
                </c:pt>
                <c:pt idx="208">
                  <c:v>20391572.557703078</c:v>
                </c:pt>
                <c:pt idx="209">
                  <c:v>20272053.661269814</c:v>
                </c:pt>
                <c:pt idx="210">
                  <c:v>20392596.679574277</c:v>
                </c:pt>
                <c:pt idx="211">
                  <c:v>20524761.744750917</c:v>
                </c:pt>
                <c:pt idx="212">
                  <c:v>20510732.481301796</c:v>
                </c:pt>
                <c:pt idx="213">
                  <c:v>20693664.254847731</c:v>
                </c:pt>
                <c:pt idx="214">
                  <c:v>20661236.97349821</c:v>
                </c:pt>
                <c:pt idx="215">
                  <c:v>20661907.360643595</c:v>
                </c:pt>
                <c:pt idx="216">
                  <c:v>20570048.641849939</c:v>
                </c:pt>
                <c:pt idx="217">
                  <c:v>20973874.812825188</c:v>
                </c:pt>
                <c:pt idx="218">
                  <c:v>20864220.207679238</c:v>
                </c:pt>
                <c:pt idx="219">
                  <c:v>20940168.801184211</c:v>
                </c:pt>
                <c:pt idx="220">
                  <c:v>20625898.275704332</c:v>
                </c:pt>
                <c:pt idx="221">
                  <c:v>20787600.232080027</c:v>
                </c:pt>
                <c:pt idx="222">
                  <c:v>20747251.556299128</c:v>
                </c:pt>
                <c:pt idx="223">
                  <c:v>21045876.524542276</c:v>
                </c:pt>
                <c:pt idx="224">
                  <c:v>20981690.320052758</c:v>
                </c:pt>
                <c:pt idx="225">
                  <c:v>20895162.869106758</c:v>
                </c:pt>
                <c:pt idx="226">
                  <c:v>20768776.540800709</c:v>
                </c:pt>
                <c:pt idx="227">
                  <c:v>20894977.327296026</c:v>
                </c:pt>
                <c:pt idx="228">
                  <c:v>20839820.250452258</c:v>
                </c:pt>
                <c:pt idx="229">
                  <c:v>20700540.427404914</c:v>
                </c:pt>
                <c:pt idx="230">
                  <c:v>20639479.541688908</c:v>
                </c:pt>
                <c:pt idx="231">
                  <c:v>20349914.766349688</c:v>
                </c:pt>
                <c:pt idx="232">
                  <c:v>20500993.194014601</c:v>
                </c:pt>
                <c:pt idx="233">
                  <c:v>20641572.944245916</c:v>
                </c:pt>
                <c:pt idx="234">
                  <c:v>20242280.864605855</c:v>
                </c:pt>
                <c:pt idx="235">
                  <c:v>20391975.989411332</c:v>
                </c:pt>
                <c:pt idx="236">
                  <c:v>20395942.277459685</c:v>
                </c:pt>
                <c:pt idx="237">
                  <c:v>20201785.889168512</c:v>
                </c:pt>
                <c:pt idx="238">
                  <c:v>20505879.86511204</c:v>
                </c:pt>
                <c:pt idx="239">
                  <c:v>20443910.907440815</c:v>
                </c:pt>
                <c:pt idx="240">
                  <c:v>20564140.083075225</c:v>
                </c:pt>
                <c:pt idx="241">
                  <c:v>20717761.90023011</c:v>
                </c:pt>
                <c:pt idx="242">
                  <c:v>19257465.895370148</c:v>
                </c:pt>
                <c:pt idx="243">
                  <c:v>15789440.641605318</c:v>
                </c:pt>
                <c:pt idx="244">
                  <c:v>16993760.086111613</c:v>
                </c:pt>
                <c:pt idx="245">
                  <c:v>19239321.513707794</c:v>
                </c:pt>
                <c:pt idx="246">
                  <c:v>19971141.004152581</c:v>
                </c:pt>
                <c:pt idx="247">
                  <c:v>20254282.637411673</c:v>
                </c:pt>
                <c:pt idx="248">
                  <c:v>20234609.62326204</c:v>
                </c:pt>
                <c:pt idx="249">
                  <c:v>20298532.545018122</c:v>
                </c:pt>
                <c:pt idx="250">
                  <c:v>20507979.261735901</c:v>
                </c:pt>
                <c:pt idx="251">
                  <c:v>20732552.191385567</c:v>
                </c:pt>
                <c:pt idx="252">
                  <c:v>21194340.126997329</c:v>
                </c:pt>
                <c:pt idx="253">
                  <c:v>20487172.434136812</c:v>
                </c:pt>
                <c:pt idx="254">
                  <c:v>20835600.99018855</c:v>
                </c:pt>
                <c:pt idx="255">
                  <c:v>20635498.989714939</c:v>
                </c:pt>
                <c:pt idx="256">
                  <c:v>20818244.363721937</c:v>
                </c:pt>
                <c:pt idx="257">
                  <c:v>20605710.250752401</c:v>
                </c:pt>
                <c:pt idx="258">
                  <c:v>20807484.202872626</c:v>
                </c:pt>
                <c:pt idx="259">
                  <c:v>20828758.82170767</c:v>
                </c:pt>
                <c:pt idx="260">
                  <c:v>20473776.548043836</c:v>
                </c:pt>
                <c:pt idx="261">
                  <c:v>20800747.88568601</c:v>
                </c:pt>
                <c:pt idx="262">
                  <c:v>21049000.73587263</c:v>
                </c:pt>
                <c:pt idx="263">
                  <c:v>21155515.861134894</c:v>
                </c:pt>
                <c:pt idx="264">
                  <c:v>20960364.359264612</c:v>
                </c:pt>
                <c:pt idx="265">
                  <c:v>20929229.91613454</c:v>
                </c:pt>
                <c:pt idx="266">
                  <c:v>21293935.688884508</c:v>
                </c:pt>
                <c:pt idx="267">
                  <c:v>21358319.913232714</c:v>
                </c:pt>
                <c:pt idx="268">
                  <c:v>21175853.44217021</c:v>
                </c:pt>
                <c:pt idx="269">
                  <c:v>21144038.942526512</c:v>
                </c:pt>
                <c:pt idx="270">
                  <c:v>21093977.845852904</c:v>
                </c:pt>
                <c:pt idx="271">
                  <c:v>20998982.653840192</c:v>
                </c:pt>
                <c:pt idx="272">
                  <c:v>20946415.128679294</c:v>
                </c:pt>
                <c:pt idx="273">
                  <c:v>21082910.319211707</c:v>
                </c:pt>
                <c:pt idx="274">
                  <c:v>20945784.409363791</c:v>
                </c:pt>
                <c:pt idx="275">
                  <c:v>20677435.07445094</c:v>
                </c:pt>
                <c:pt idx="276">
                  <c:v>21118089.722926047</c:v>
                </c:pt>
                <c:pt idx="277">
                  <c:v>21069534.583072234</c:v>
                </c:pt>
                <c:pt idx="278">
                  <c:v>20765435.205297291</c:v>
                </c:pt>
                <c:pt idx="279">
                  <c:v>21135730.440386642</c:v>
                </c:pt>
                <c:pt idx="280">
                  <c:v>21064489.64716487</c:v>
                </c:pt>
                <c:pt idx="281">
                  <c:v>20931873.745865837</c:v>
                </c:pt>
                <c:pt idx="282">
                  <c:v>21076678.1171065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0B8-4E87-930B-B84B9F64AB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orecast</c:v>
                </c:pt>
              </c:strCache>
            </c:strRef>
          </c:tx>
          <c:spPr>
            <a:ln w="38100" cap="rnd">
              <a:solidFill>
                <a:srgbClr val="00B050"/>
              </a:solidFill>
              <a:prstDash val="sysDash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A$2:$A$308</c:f>
              <c:numCache>
                <c:formatCode>[$-409]mmm\-yy;@</c:formatCode>
                <c:ptCount val="307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  <c:pt idx="300">
                  <c:v>45658</c:v>
                </c:pt>
                <c:pt idx="301">
                  <c:v>45689</c:v>
                </c:pt>
                <c:pt idx="302">
                  <c:v>45717</c:v>
                </c:pt>
                <c:pt idx="303">
                  <c:v>45748</c:v>
                </c:pt>
                <c:pt idx="304">
                  <c:v>45778</c:v>
                </c:pt>
                <c:pt idx="305">
                  <c:v>45809</c:v>
                </c:pt>
                <c:pt idx="306">
                  <c:v>45839</c:v>
                </c:pt>
              </c:numCache>
            </c:numRef>
          </c:cat>
          <c:val>
            <c:numRef>
              <c:f>Sheet1!$C$2:$C$308</c:f>
              <c:numCache>
                <c:formatCode>General</c:formatCode>
                <c:ptCount val="307"/>
                <c:pt idx="283" formatCode="_(* #,##0_);_(* \(#,##0\);_(* &quot;-&quot;??_);_(@_)">
                  <c:v>21092166.218979597</c:v>
                </c:pt>
                <c:pt idx="284" formatCode="_(* #,##0_);_(* \(#,##0\);_(* &quot;-&quot;??_);_(@_)">
                  <c:v>21107153.130186323</c:v>
                </c:pt>
                <c:pt idx="285" formatCode="_(* #,##0_);_(* \(#,##0\);_(* &quot;-&quot;??_);_(@_)">
                  <c:v>21131204.198532924</c:v>
                </c:pt>
                <c:pt idx="286" formatCode="_(* #,##0_);_(* \(#,##0\);_(* &quot;-&quot;??_);_(@_)">
                  <c:v>21138014.71755226</c:v>
                </c:pt>
                <c:pt idx="287" formatCode="_(* #,##0_);_(* \(#,##0\);_(* &quot;-&quot;??_);_(@_)">
                  <c:v>21137150.035050575</c:v>
                </c:pt>
                <c:pt idx="288" formatCode="_(* #,##0_);_(* \(#,##0\);_(* &quot;-&quot;??_);_(@_)">
                  <c:v>21111941.432774007</c:v>
                </c:pt>
                <c:pt idx="289" formatCode="_(* #,##0_);_(* \(#,##0\);_(* &quot;-&quot;??_);_(@_)">
                  <c:v>21108227.885920659</c:v>
                </c:pt>
                <c:pt idx="290" formatCode="_(* #,##0_);_(* \(#,##0\);_(* &quot;-&quot;??_);_(@_)">
                  <c:v>21109340.676236693</c:v>
                </c:pt>
                <c:pt idx="291" formatCode="_(* #,##0_);_(* \(#,##0\);_(* &quot;-&quot;??_);_(@_)">
                  <c:v>21105439.050416697</c:v>
                </c:pt>
                <c:pt idx="292" formatCode="_(* #,##0_);_(* \(#,##0\);_(* &quot;-&quot;??_);_(@_)">
                  <c:v>21123585.080050509</c:v>
                </c:pt>
                <c:pt idx="293" formatCode="_(* #,##0_);_(* \(#,##0\);_(* &quot;-&quot;??_);_(@_)">
                  <c:v>21153938.011832733</c:v>
                </c:pt>
                <c:pt idx="294" formatCode="_(* #,##0_);_(* \(#,##0\);_(* &quot;-&quot;??_);_(@_)">
                  <c:v>21209396.806949634</c:v>
                </c:pt>
                <c:pt idx="295" formatCode="_(* #,##0_);_(* \(#,##0\);_(* &quot;-&quot;??_);_(@_)">
                  <c:v>21254489.32213898</c:v>
                </c:pt>
                <c:pt idx="296" formatCode="_(* #,##0_);_(* \(#,##0\);_(* &quot;-&quot;??_);_(@_)">
                  <c:v>21302114.518587038</c:v>
                </c:pt>
                <c:pt idx="297" formatCode="_(* #,##0_);_(* \(#,##0\);_(* &quot;-&quot;??_);_(@_)">
                  <c:v>21346480.021787245</c:v>
                </c:pt>
                <c:pt idx="298" formatCode="_(* #,##0_);_(* \(#,##0\);_(* &quot;-&quot;??_);_(@_)">
                  <c:v>21403514.861632671</c:v>
                </c:pt>
                <c:pt idx="299" formatCode="_(* #,##0_);_(* \(#,##0\);_(* &quot;-&quot;??_);_(@_)">
                  <c:v>21467426.663616739</c:v>
                </c:pt>
                <c:pt idx="300" formatCode="_(* #,##0_);_(* \(#,##0\);_(* &quot;-&quot;??_);_(@_)">
                  <c:v>21561095.769835193</c:v>
                </c:pt>
                <c:pt idx="301" formatCode="_(* #,##0_);_(* \(#,##0\);_(* &quot;-&quot;??_);_(@_)">
                  <c:v>21621601.239524771</c:v>
                </c:pt>
                <c:pt idx="302" formatCode="_(* #,##0_);_(* \(#,##0\);_(* &quot;-&quot;??_);_(@_)">
                  <c:v>21671823.414781194</c:v>
                </c:pt>
                <c:pt idx="303" formatCode="_(* #,##0_);_(* \(#,##0\);_(* &quot;-&quot;??_);_(@_)">
                  <c:v>21712599.299134269</c:v>
                </c:pt>
                <c:pt idx="304" formatCode="_(* #,##0_);_(* \(#,##0\);_(* &quot;-&quot;??_);_(@_)">
                  <c:v>21741627.132877052</c:v>
                </c:pt>
                <c:pt idx="305" formatCode="_(* #,##0_);_(* \(#,##0\);_(* &quot;-&quot;??_);_(@_)">
                  <c:v>21759743.919539355</c:v>
                </c:pt>
                <c:pt idx="306" formatCode="_(* #,##0_);_(* \(#,##0\);_(* &quot;-&quot;??_);_(@_)">
                  <c:v>21764246.5602905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9B-E94B-90FA-12166EDDD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5354928"/>
        <c:axId val="375355712"/>
      </c:lineChart>
      <c:dateAx>
        <c:axId val="375354928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yyyy" sourceLinked="0"/>
        <c:majorTickMark val="out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355712"/>
        <c:crosses val="autoZero"/>
        <c:auto val="1"/>
        <c:lblOffset val="100"/>
        <c:baseTimeUnit val="months"/>
        <c:majorUnit val="12"/>
        <c:majorTimeUnit val="months"/>
        <c:minorUnit val="12"/>
        <c:minorTimeUnit val="months"/>
      </c:dateAx>
      <c:valAx>
        <c:axId val="375355712"/>
        <c:scaling>
          <c:orientation val="minMax"/>
          <c:min val="120000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354928"/>
        <c:crosses val="autoZero"/>
        <c:crossBetween val="between"/>
        <c:dispUnits>
          <c:builtInUnit val="millions"/>
          <c:dispUnitsLbl>
            <c:layout>
              <c:manualLayout>
                <c:xMode val="edge"/>
                <c:yMode val="edge"/>
                <c:x val="3.8904104378257063E-4"/>
                <c:y val="0.21177471566054243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4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dirty="0">
                      <a:solidFill>
                        <a:srgbClr val="000000"/>
                      </a:solidFill>
                    </a:rPr>
                    <a:t>Millions of loadings originated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4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400" b="0"/>
      </a:pPr>
      <a:endParaRPr lang="en-US"/>
    </a:p>
  </c:txPr>
  <c:externalData r:id="rId3">
    <c:autoUpdate val="0"/>
  </c:externalData>
</c:chartSpace>
</file>

<file path=ppt/charts/chart2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baseline="0">
                <a:solidFill>
                  <a:schemeClr val="tx1"/>
                </a:solidFill>
              </a:rPr>
              <a:t>Refrigerated spot loads</a:t>
            </a:r>
          </a:p>
          <a:p>
            <a:pPr algn="l">
              <a:defRPr/>
            </a:pPr>
            <a:r>
              <a:rPr lang="en-US" sz="1200" baseline="0">
                <a:solidFill>
                  <a:schemeClr val="tx1"/>
                </a:solidFill>
              </a:rPr>
              <a:t>Weekly index, 100 = 2014 average</a:t>
            </a:r>
            <a:endParaRPr lang="en-US" sz="120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7.4295348498104416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5020778652668419E-2"/>
          <c:y val="0.11762184374723064"/>
          <c:w val="0.93353190226221727"/>
          <c:h val="0.72982706048780177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Reefer_LA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val>
            <c:numRef>
              <c:f>Reefer_LA!$B$2:$B$53</c:f>
              <c:numCache>
                <c:formatCode>General</c:formatCode>
                <c:ptCount val="52"/>
                <c:pt idx="0">
                  <c:v>239.1500702291963</c:v>
                </c:pt>
                <c:pt idx="1">
                  <c:v>193.96052938925831</c:v>
                </c:pt>
                <c:pt idx="2">
                  <c:v>143.01082163981215</c:v>
                </c:pt>
                <c:pt idx="3">
                  <c:v>138.66610070365968</c:v>
                </c:pt>
                <c:pt idx="4">
                  <c:v>167.40875174706429</c:v>
                </c:pt>
                <c:pt idx="5">
                  <c:v>150.91954667479533</c:v>
                </c:pt>
                <c:pt idx="6">
                  <c:v>133.16723062181879</c:v>
                </c:pt>
                <c:pt idx="7">
                  <c:v>134.1425977275243</c:v>
                </c:pt>
                <c:pt idx="8">
                  <c:v>146.75254989673235</c:v>
                </c:pt>
                <c:pt idx="9">
                  <c:v>130.55108869946545</c:v>
                </c:pt>
                <c:pt idx="10">
                  <c:v>134.05585141226629</c:v>
                </c:pt>
                <c:pt idx="11">
                  <c:v>119.03604428991596</c:v>
                </c:pt>
                <c:pt idx="12">
                  <c:v>121.03332530463618</c:v>
                </c:pt>
                <c:pt idx="13">
                  <c:v>120.77943365022257</c:v>
                </c:pt>
                <c:pt idx="14">
                  <c:v>110.89141159270683</c:v>
                </c:pt>
                <c:pt idx="15">
                  <c:v>115.61697001047966</c:v>
                </c:pt>
                <c:pt idx="16">
                  <c:v>127.49592579135529</c:v>
                </c:pt>
                <c:pt idx="17">
                  <c:v>137.58282964482834</c:v>
                </c:pt>
                <c:pt idx="18">
                  <c:v>128.86270919761509</c:v>
                </c:pt>
                <c:pt idx="19">
                  <c:v>176.51605696725821</c:v>
                </c:pt>
                <c:pt idx="20">
                  <c:v>150.00024730943943</c:v>
                </c:pt>
                <c:pt idx="21">
                  <c:v>129.30913535662566</c:v>
                </c:pt>
                <c:pt idx="22">
                  <c:v>139.49759587186415</c:v>
                </c:pt>
                <c:pt idx="23">
                  <c:v>126.61682593794825</c:v>
                </c:pt>
                <c:pt idx="24">
                  <c:v>149.89869064767399</c:v>
                </c:pt>
                <c:pt idx="25">
                  <c:v>176.48008898288293</c:v>
                </c:pt>
                <c:pt idx="26">
                  <c:v>117.72532862400583</c:v>
                </c:pt>
                <c:pt idx="27">
                  <c:v>138.03242944951904</c:v>
                </c:pt>
                <c:pt idx="28">
                  <c:v>139.92180651111346</c:v>
                </c:pt>
                <c:pt idx="29">
                  <c:v>144.29826390406762</c:v>
                </c:pt>
                <c:pt idx="30">
                  <c:v>165.05073300669804</c:v>
                </c:pt>
                <c:pt idx="31">
                  <c:v>151.6801637561426</c:v>
                </c:pt>
                <c:pt idx="32">
                  <c:v>162.52451104528285</c:v>
                </c:pt>
                <c:pt idx="33">
                  <c:v>174.31672051090047</c:v>
                </c:pt>
                <c:pt idx="34">
                  <c:v>169.36794901362234</c:v>
                </c:pt>
                <c:pt idx="35">
                  <c:v>143.68998181536841</c:v>
                </c:pt>
                <c:pt idx="36">
                  <c:v>150.21499733379756</c:v>
                </c:pt>
                <c:pt idx="37">
                  <c:v>132.94295966042003</c:v>
                </c:pt>
                <c:pt idx="38">
                  <c:v>134.81329484793346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1DF-42CB-BF8B-40EEAE22D6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83353840"/>
        <c:axId val="483357776"/>
      </c:barChart>
      <c:lineChart>
        <c:grouping val="standard"/>
        <c:varyColors val="0"/>
        <c:ser>
          <c:idx val="1"/>
          <c:order val="1"/>
          <c:tx>
            <c:strRef>
              <c:f>Reefer_LA!$C$1</c:f>
              <c:strCache>
                <c:ptCount val="1"/>
                <c:pt idx="0">
                  <c:v>2022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Reefer_LA!$C$2:$C$53</c:f>
              <c:numCache>
                <c:formatCode>#,##0.00_);[Red]\(#,##0.00\)</c:formatCode>
                <c:ptCount val="52"/>
                <c:pt idx="0">
                  <c:v>508.44572970000002</c:v>
                </c:pt>
                <c:pt idx="1">
                  <c:v>445.83331950000002</c:v>
                </c:pt>
                <c:pt idx="2">
                  <c:v>396.00725410000001</c:v>
                </c:pt>
                <c:pt idx="3">
                  <c:v>389.27854559999997</c:v>
                </c:pt>
                <c:pt idx="4">
                  <c:v>415.57281069999999</c:v>
                </c:pt>
                <c:pt idx="5">
                  <c:v>410.66014790000003</c:v>
                </c:pt>
                <c:pt idx="6">
                  <c:v>343.95558149999999</c:v>
                </c:pt>
                <c:pt idx="7">
                  <c:v>344.28973389999999</c:v>
                </c:pt>
                <c:pt idx="8">
                  <c:v>339.30788840000002</c:v>
                </c:pt>
                <c:pt idx="9">
                  <c:v>319.13559950000001</c:v>
                </c:pt>
                <c:pt idx="10">
                  <c:v>293.60995409999998</c:v>
                </c:pt>
                <c:pt idx="11">
                  <c:v>268.91657650000002</c:v>
                </c:pt>
                <c:pt idx="12">
                  <c:v>268.53537979999999</c:v>
                </c:pt>
                <c:pt idx="13">
                  <c:v>271.8298595</c:v>
                </c:pt>
                <c:pt idx="14">
                  <c:v>261.64201659999998</c:v>
                </c:pt>
                <c:pt idx="15">
                  <c:v>245.15024679999999</c:v>
                </c:pt>
                <c:pt idx="16">
                  <c:v>260.19609830000002</c:v>
                </c:pt>
                <c:pt idx="17">
                  <c:v>266.05241310000002</c:v>
                </c:pt>
                <c:pt idx="18">
                  <c:v>227.09287280000001</c:v>
                </c:pt>
                <c:pt idx="19">
                  <c:v>320.87969520000001</c:v>
                </c:pt>
                <c:pt idx="20">
                  <c:v>288.20125139999999</c:v>
                </c:pt>
                <c:pt idx="21">
                  <c:v>228.03306559999999</c:v>
                </c:pt>
                <c:pt idx="22">
                  <c:v>242.97030029999999</c:v>
                </c:pt>
                <c:pt idx="23">
                  <c:v>240.41607529999999</c:v>
                </c:pt>
                <c:pt idx="24">
                  <c:v>269.97507159999998</c:v>
                </c:pt>
                <c:pt idx="25">
                  <c:v>293.85070990000003</c:v>
                </c:pt>
                <c:pt idx="26">
                  <c:v>226.3533099</c:v>
                </c:pt>
                <c:pt idx="27">
                  <c:v>210.59141750000001</c:v>
                </c:pt>
                <c:pt idx="28">
                  <c:v>189.13094699999999</c:v>
                </c:pt>
                <c:pt idx="29">
                  <c:v>190.8369921</c:v>
                </c:pt>
                <c:pt idx="30">
                  <c:v>183.65859620000001</c:v>
                </c:pt>
                <c:pt idx="31">
                  <c:v>174.88000460000001</c:v>
                </c:pt>
                <c:pt idx="32">
                  <c:v>175.78837329999999</c:v>
                </c:pt>
                <c:pt idx="33">
                  <c:v>195.76764249999999</c:v>
                </c:pt>
                <c:pt idx="34">
                  <c:v>200.70036830000001</c:v>
                </c:pt>
                <c:pt idx="35">
                  <c:v>177.380267</c:v>
                </c:pt>
                <c:pt idx="36">
                  <c:v>200.8034505</c:v>
                </c:pt>
                <c:pt idx="37">
                  <c:v>187.7535196</c:v>
                </c:pt>
                <c:pt idx="38">
                  <c:v>170.7491062</c:v>
                </c:pt>
                <c:pt idx="39">
                  <c:v>182.58142169999999</c:v>
                </c:pt>
                <c:pt idx="40">
                  <c:v>172.8024484</c:v>
                </c:pt>
                <c:pt idx="41">
                  <c:v>162.03576960000001</c:v>
                </c:pt>
                <c:pt idx="42">
                  <c:v>164.07642379999999</c:v>
                </c:pt>
                <c:pt idx="43">
                  <c:v>174.8805716</c:v>
                </c:pt>
                <c:pt idx="44">
                  <c:v>197.5425175</c:v>
                </c:pt>
                <c:pt idx="45">
                  <c:v>201.43869649999999</c:v>
                </c:pt>
                <c:pt idx="46">
                  <c:v>117.319102</c:v>
                </c:pt>
                <c:pt idx="47">
                  <c:v>179.52149940000001</c:v>
                </c:pt>
                <c:pt idx="48">
                  <c:v>140.6464556</c:v>
                </c:pt>
                <c:pt idx="49">
                  <c:v>157.33242670000001</c:v>
                </c:pt>
                <c:pt idx="50">
                  <c:v>192.02989489999999</c:v>
                </c:pt>
                <c:pt idx="51">
                  <c:v>249.124838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1DF-42CB-BF8B-40EEAE22D64F}"/>
            </c:ext>
          </c:extLst>
        </c:ser>
        <c:ser>
          <c:idx val="2"/>
          <c:order val="2"/>
          <c:tx>
            <c:strRef>
              <c:f>Reefer_LA!$D$1</c:f>
              <c:strCache>
                <c:ptCount val="1"/>
                <c:pt idx="0">
                  <c:v>2021</c:v>
                </c:pt>
              </c:strCache>
            </c:strRef>
          </c:tx>
          <c:spPr>
            <a:ln w="31750" cap="rnd">
              <a:solidFill>
                <a:srgbClr val="358B3B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Reefer_LA!$D$2:$D$53</c:f>
              <c:numCache>
                <c:formatCode>#,##0.00_);[Red]\(#,##0.00\)</c:formatCode>
                <c:ptCount val="52"/>
                <c:pt idx="0">
                  <c:v>256.82275040000002</c:v>
                </c:pt>
                <c:pt idx="1">
                  <c:v>195.82160500000001</c:v>
                </c:pt>
                <c:pt idx="2">
                  <c:v>178.66360599999999</c:v>
                </c:pt>
                <c:pt idx="3">
                  <c:v>213.48809679999999</c:v>
                </c:pt>
                <c:pt idx="4">
                  <c:v>241.31614210000001</c:v>
                </c:pt>
                <c:pt idx="5">
                  <c:v>270.7983456</c:v>
                </c:pt>
                <c:pt idx="6">
                  <c:v>369.53864859999999</c:v>
                </c:pt>
                <c:pt idx="7">
                  <c:v>391.37270560000002</c:v>
                </c:pt>
                <c:pt idx="8">
                  <c:v>337.5990759</c:v>
                </c:pt>
                <c:pt idx="9">
                  <c:v>296.18147470000002</c:v>
                </c:pt>
                <c:pt idx="10">
                  <c:v>292.38818780000003</c:v>
                </c:pt>
                <c:pt idx="11">
                  <c:v>291.37604499999998</c:v>
                </c:pt>
                <c:pt idx="12">
                  <c:v>290.16603980000002</c:v>
                </c:pt>
                <c:pt idx="13">
                  <c:v>272.22766000000001</c:v>
                </c:pt>
                <c:pt idx="14">
                  <c:v>277.04554259999998</c:v>
                </c:pt>
                <c:pt idx="15">
                  <c:v>278.434731</c:v>
                </c:pt>
                <c:pt idx="16">
                  <c:v>286.5097346</c:v>
                </c:pt>
                <c:pt idx="17">
                  <c:v>377.2283046</c:v>
                </c:pt>
                <c:pt idx="18">
                  <c:v>339.18059219999998</c:v>
                </c:pt>
                <c:pt idx="19">
                  <c:v>304.9711355</c:v>
                </c:pt>
                <c:pt idx="20">
                  <c:v>326.49387050000001</c:v>
                </c:pt>
                <c:pt idx="21">
                  <c:v>252.32103269999999</c:v>
                </c:pt>
                <c:pt idx="22">
                  <c:v>289.1532052</c:v>
                </c:pt>
                <c:pt idx="23">
                  <c:v>314.02369049999999</c:v>
                </c:pt>
                <c:pt idx="24">
                  <c:v>346.95534300000003</c:v>
                </c:pt>
                <c:pt idx="25">
                  <c:v>354.37241920000002</c:v>
                </c:pt>
                <c:pt idx="26">
                  <c:v>298.80903330000001</c:v>
                </c:pt>
                <c:pt idx="27">
                  <c:v>245.20075019999999</c:v>
                </c:pt>
                <c:pt idx="28">
                  <c:v>312.43525599999998</c:v>
                </c:pt>
                <c:pt idx="29">
                  <c:v>320.15327689999998</c:v>
                </c:pt>
                <c:pt idx="30">
                  <c:v>321.8814605</c:v>
                </c:pt>
                <c:pt idx="31">
                  <c:v>347.51087999999999</c:v>
                </c:pt>
                <c:pt idx="32">
                  <c:v>363.41321319999997</c:v>
                </c:pt>
                <c:pt idx="33">
                  <c:v>400.19419049999999</c:v>
                </c:pt>
                <c:pt idx="34">
                  <c:v>411.32845270000001</c:v>
                </c:pt>
                <c:pt idx="35">
                  <c:v>287.28527259999998</c:v>
                </c:pt>
                <c:pt idx="36">
                  <c:v>351.22391499999998</c:v>
                </c:pt>
                <c:pt idx="37">
                  <c:v>351.37957599999999</c:v>
                </c:pt>
                <c:pt idx="38">
                  <c:v>354.29977739999998</c:v>
                </c:pt>
                <c:pt idx="39">
                  <c:v>345.60420499999998</c:v>
                </c:pt>
                <c:pt idx="40">
                  <c:v>343.00362769999998</c:v>
                </c:pt>
                <c:pt idx="41">
                  <c:v>342.270983</c:v>
                </c:pt>
                <c:pt idx="42">
                  <c:v>340.0419167</c:v>
                </c:pt>
                <c:pt idx="43">
                  <c:v>385.26871690000002</c:v>
                </c:pt>
                <c:pt idx="44">
                  <c:v>379.16818719999998</c:v>
                </c:pt>
                <c:pt idx="45">
                  <c:v>365.6990093</c:v>
                </c:pt>
                <c:pt idx="46">
                  <c:v>235.14642979999999</c:v>
                </c:pt>
                <c:pt idx="47">
                  <c:v>323.72794649999997</c:v>
                </c:pt>
                <c:pt idx="48">
                  <c:v>291.49227200000001</c:v>
                </c:pt>
                <c:pt idx="49">
                  <c:v>311.48053490000001</c:v>
                </c:pt>
                <c:pt idx="50">
                  <c:v>336.1054216</c:v>
                </c:pt>
                <c:pt idx="51">
                  <c:v>447.4259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11DF-42CB-BF8B-40EEAE22D64F}"/>
            </c:ext>
          </c:extLst>
        </c:ser>
        <c:ser>
          <c:idx val="3"/>
          <c:order val="3"/>
          <c:tx>
            <c:strRef>
              <c:f>Reefer_LA!$E$1</c:f>
              <c:strCache>
                <c:ptCount val="1"/>
                <c:pt idx="0">
                  <c:v>5-Yr Avg</c:v>
                </c:pt>
              </c:strCache>
            </c:strRef>
          </c:tx>
          <c:spPr>
            <a:ln w="3175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Reefer_LA!$E$2:$E$53</c:f>
              <c:numCache>
                <c:formatCode>General</c:formatCode>
                <c:ptCount val="52"/>
                <c:pt idx="0">
                  <c:v>249.91305997567164</c:v>
                </c:pt>
                <c:pt idx="1">
                  <c:v>207.39254830581569</c:v>
                </c:pt>
                <c:pt idx="2">
                  <c:v>185.43202527935506</c:v>
                </c:pt>
                <c:pt idx="3">
                  <c:v>186.16660708529201</c:v>
                </c:pt>
                <c:pt idx="4">
                  <c:v>200.53958773236565</c:v>
                </c:pt>
                <c:pt idx="5">
                  <c:v>198.51779279012592</c:v>
                </c:pt>
                <c:pt idx="6">
                  <c:v>208.9815363373433</c:v>
                </c:pt>
                <c:pt idx="7">
                  <c:v>218.67762875264538</c:v>
                </c:pt>
                <c:pt idx="8">
                  <c:v>215.07985212466028</c:v>
                </c:pt>
                <c:pt idx="9">
                  <c:v>202.29281547073961</c:v>
                </c:pt>
                <c:pt idx="10">
                  <c:v>204.69649886360779</c:v>
                </c:pt>
                <c:pt idx="11">
                  <c:v>180.5702808990184</c:v>
                </c:pt>
                <c:pt idx="12">
                  <c:v>169.87034764701019</c:v>
                </c:pt>
                <c:pt idx="13">
                  <c:v>157.51058328857522</c:v>
                </c:pt>
                <c:pt idx="14">
                  <c:v>154.89367884410623</c:v>
                </c:pt>
                <c:pt idx="15">
                  <c:v>156.8897378255428</c:v>
                </c:pt>
                <c:pt idx="16">
                  <c:v>163.57029513468737</c:v>
                </c:pt>
                <c:pt idx="17">
                  <c:v>187.73484030972025</c:v>
                </c:pt>
                <c:pt idx="18">
                  <c:v>173.92071743514222</c:v>
                </c:pt>
                <c:pt idx="19">
                  <c:v>188.11672876034862</c:v>
                </c:pt>
                <c:pt idx="20">
                  <c:v>180.46498484433425</c:v>
                </c:pt>
                <c:pt idx="21">
                  <c:v>161.67247557352118</c:v>
                </c:pt>
                <c:pt idx="22">
                  <c:v>181.03795588565751</c:v>
                </c:pt>
                <c:pt idx="23">
                  <c:v>184.71294039605226</c:v>
                </c:pt>
                <c:pt idx="24">
                  <c:v>208.0186516533133</c:v>
                </c:pt>
                <c:pt idx="25">
                  <c:v>210.37197004762027</c:v>
                </c:pt>
                <c:pt idx="26">
                  <c:v>176.95257965621789</c:v>
                </c:pt>
                <c:pt idx="27">
                  <c:v>162.63397660374454</c:v>
                </c:pt>
                <c:pt idx="28">
                  <c:v>168.70946210325221</c:v>
                </c:pt>
                <c:pt idx="29">
                  <c:v>174.48275761139308</c:v>
                </c:pt>
                <c:pt idx="30">
                  <c:v>179.83320851622952</c:v>
                </c:pt>
                <c:pt idx="31">
                  <c:v>182.6907303576705</c:v>
                </c:pt>
                <c:pt idx="32">
                  <c:v>191.43874318467346</c:v>
                </c:pt>
                <c:pt idx="33">
                  <c:v>207.7805248331932</c:v>
                </c:pt>
                <c:pt idx="34">
                  <c:v>216.17003295889972</c:v>
                </c:pt>
                <c:pt idx="35">
                  <c:v>171.8953249930052</c:v>
                </c:pt>
                <c:pt idx="36">
                  <c:v>196.8189426463523</c:v>
                </c:pt>
                <c:pt idx="37">
                  <c:v>189.30860814937498</c:v>
                </c:pt>
                <c:pt idx="38">
                  <c:v>189.4699421832274</c:v>
                </c:pt>
                <c:pt idx="39">
                  <c:v>186.55887293947006</c:v>
                </c:pt>
                <c:pt idx="40">
                  <c:v>180.16141119916085</c:v>
                </c:pt>
                <c:pt idx="41">
                  <c:v>175.64396454154388</c:v>
                </c:pt>
                <c:pt idx="42">
                  <c:v>180.78820399070884</c:v>
                </c:pt>
                <c:pt idx="43">
                  <c:v>201.80311541135501</c:v>
                </c:pt>
                <c:pt idx="44">
                  <c:v>212.7932936416729</c:v>
                </c:pt>
                <c:pt idx="45">
                  <c:v>220.57644664809666</c:v>
                </c:pt>
                <c:pt idx="46">
                  <c:v>153.05393025084891</c:v>
                </c:pt>
                <c:pt idx="47">
                  <c:v>179.77800635190161</c:v>
                </c:pt>
                <c:pt idx="48">
                  <c:v>169.08971449839493</c:v>
                </c:pt>
                <c:pt idx="49">
                  <c:v>174.29193568523206</c:v>
                </c:pt>
                <c:pt idx="50">
                  <c:v>186.42096129661735</c:v>
                </c:pt>
                <c:pt idx="51">
                  <c:v>237.379838946794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1DF-42CB-BF8B-40EEAE22D64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353840"/>
        <c:axId val="483357776"/>
      </c:lineChart>
      <c:catAx>
        <c:axId val="4833538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7776"/>
        <c:crosses val="autoZero"/>
        <c:auto val="1"/>
        <c:lblAlgn val="ctr"/>
        <c:lblOffset val="100"/>
        <c:tickLblSkip val="4"/>
        <c:noMultiLvlLbl val="0"/>
      </c:catAx>
      <c:valAx>
        <c:axId val="483357776"/>
        <c:scaling>
          <c:orientation val="minMax"/>
          <c:max val="55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3840"/>
        <c:crosses val="autoZero"/>
        <c:crossBetween val="between"/>
        <c:majorUnit val="50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7.5121573344998527E-2"/>
          <c:y val="0.77310651793525798"/>
          <c:w val="0.62208333333333332"/>
          <c:h val="6.7249753632097106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baseline="0" dirty="0">
                <a:solidFill>
                  <a:schemeClr val="tx1"/>
                </a:solidFill>
              </a:rPr>
              <a:t>Refrigerated spot rates</a:t>
            </a:r>
          </a:p>
          <a:p>
            <a:pPr algn="l">
              <a:defRPr/>
            </a:pPr>
            <a:r>
              <a:rPr lang="en-US" sz="1200" baseline="0" dirty="0">
                <a:solidFill>
                  <a:schemeClr val="tx1"/>
                </a:solidFill>
              </a:rPr>
              <a:t>Weekly broker-posted rate per mile</a:t>
            </a:r>
            <a:endParaRPr lang="en-US" sz="1200" u="sng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9.1462343248760569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5.6042831602571418E-2"/>
          <c:y val="0.11356474190726161"/>
          <c:w val="0.94358650481189854"/>
          <c:h val="0.7308803587051618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Reefer_Rates_Incl_Fuel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358B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val>
            <c:numRef>
              <c:f>Reefer_Rates_Incl_Fuel!$B$2:$B$53</c:f>
              <c:numCache>
                <c:formatCode>"$"#,##0.000000</c:formatCode>
                <c:ptCount val="52"/>
                <c:pt idx="0">
                  <c:v>2.9611621989419161</c:v>
                </c:pt>
                <c:pt idx="1">
                  <c:v>2.6852762938587111</c:v>
                </c:pt>
                <c:pt idx="2">
                  <c:v>2.5013809276437859</c:v>
                </c:pt>
                <c:pt idx="3">
                  <c:v>2.4009135786535896</c:v>
                </c:pt>
                <c:pt idx="4">
                  <c:v>2.4201124619302012</c:v>
                </c:pt>
                <c:pt idx="5">
                  <c:v>2.3690706813683891</c:v>
                </c:pt>
                <c:pt idx="6">
                  <c:v>2.3107874028265747</c:v>
                </c:pt>
                <c:pt idx="7">
                  <c:v>2.3186117876989032</c:v>
                </c:pt>
                <c:pt idx="8">
                  <c:v>2.3576805475032141</c:v>
                </c:pt>
                <c:pt idx="9">
                  <c:v>2.3182437061140599</c:v>
                </c:pt>
                <c:pt idx="10">
                  <c:v>2.3239519801297082</c:v>
                </c:pt>
                <c:pt idx="11">
                  <c:v>2.2878701985900238</c:v>
                </c:pt>
                <c:pt idx="12">
                  <c:v>2.2198681013536965</c:v>
                </c:pt>
                <c:pt idx="13">
                  <c:v>2.2126073973018028</c:v>
                </c:pt>
                <c:pt idx="14">
                  <c:v>2.140498056569804</c:v>
                </c:pt>
                <c:pt idx="15">
                  <c:v>2.1282442748091595</c:v>
                </c:pt>
                <c:pt idx="16">
                  <c:v>2.1859174410446598</c:v>
                </c:pt>
                <c:pt idx="17">
                  <c:v>2.303437914273089</c:v>
                </c:pt>
                <c:pt idx="18">
                  <c:v>2.2188569801734475</c:v>
                </c:pt>
                <c:pt idx="19">
                  <c:v>2.5093268316619128</c:v>
                </c:pt>
                <c:pt idx="20">
                  <c:v>2.4533511164755581</c:v>
                </c:pt>
                <c:pt idx="21">
                  <c:v>2.4022997109826574</c:v>
                </c:pt>
                <c:pt idx="22">
                  <c:v>2.4037466248465824</c:v>
                </c:pt>
                <c:pt idx="23">
                  <c:v>2.3561357621279546</c:v>
                </c:pt>
                <c:pt idx="24">
                  <c:v>2.3750806403189593</c:v>
                </c:pt>
                <c:pt idx="25">
                  <c:v>2.508514461589479</c:v>
                </c:pt>
                <c:pt idx="26">
                  <c:v>2.341782834999917</c:v>
                </c:pt>
                <c:pt idx="27">
                  <c:v>2.2905327221655445</c:v>
                </c:pt>
                <c:pt idx="28">
                  <c:v>2.2588622416020678</c:v>
                </c:pt>
                <c:pt idx="29">
                  <c:v>2.29610615733657</c:v>
                </c:pt>
                <c:pt idx="30">
                  <c:v>2.4083691112737089</c:v>
                </c:pt>
                <c:pt idx="31">
                  <c:v>2.3945053143103348</c:v>
                </c:pt>
                <c:pt idx="32">
                  <c:v>2.4669303439858989</c:v>
                </c:pt>
                <c:pt idx="33">
                  <c:v>2.514161455076088</c:v>
                </c:pt>
                <c:pt idx="34">
                  <c:v>2.5506081591125396</c:v>
                </c:pt>
                <c:pt idx="35">
                  <c:v>2.5497843385538155</c:v>
                </c:pt>
                <c:pt idx="36">
                  <c:v>2.4527321509777193</c:v>
                </c:pt>
                <c:pt idx="37">
                  <c:v>2.3904863987128655</c:v>
                </c:pt>
                <c:pt idx="38">
                  <c:v>2.3651781302074357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3AD-4003-8912-03CA38DEB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83353840"/>
        <c:axId val="483357776"/>
      </c:barChart>
      <c:lineChart>
        <c:grouping val="standard"/>
        <c:varyColors val="0"/>
        <c:ser>
          <c:idx val="1"/>
          <c:order val="1"/>
          <c:tx>
            <c:strRef>
              <c:f>Reefer_Rates_Incl_Fuel!$C$1</c:f>
              <c:strCache>
                <c:ptCount val="1"/>
                <c:pt idx="0">
                  <c:v>2022</c:v>
                </c:pt>
              </c:strCache>
            </c:strRef>
          </c:tx>
          <c:spPr>
            <a:ln w="31750" cap="rnd">
              <a:solidFill>
                <a:srgbClr val="00B0F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Reefer_Rates_Incl_Fuel!$C$2:$C$53</c:f>
              <c:numCache>
                <c:formatCode>"$"#,##0.000000</c:formatCode>
                <c:ptCount val="52"/>
                <c:pt idx="0">
                  <c:v>3.8212969999999999</c:v>
                </c:pt>
                <c:pt idx="1">
                  <c:v>3.7096749999999998</c:v>
                </c:pt>
                <c:pt idx="2">
                  <c:v>3.5922429999999999</c:v>
                </c:pt>
                <c:pt idx="3">
                  <c:v>3.3993159999999998</c:v>
                </c:pt>
                <c:pt idx="4">
                  <c:v>3.466853</c:v>
                </c:pt>
                <c:pt idx="5">
                  <c:v>3.4090379999999998</c:v>
                </c:pt>
                <c:pt idx="6">
                  <c:v>3.2901980000000002</c:v>
                </c:pt>
                <c:pt idx="7">
                  <c:v>3.250105</c:v>
                </c:pt>
                <c:pt idx="8">
                  <c:v>3.1614599999999999</c:v>
                </c:pt>
                <c:pt idx="9">
                  <c:v>3.0973259999999998</c:v>
                </c:pt>
                <c:pt idx="10">
                  <c:v>3.069286</c:v>
                </c:pt>
                <c:pt idx="11">
                  <c:v>3.028581</c:v>
                </c:pt>
                <c:pt idx="12">
                  <c:v>2.972486</c:v>
                </c:pt>
                <c:pt idx="13">
                  <c:v>2.939066</c:v>
                </c:pt>
                <c:pt idx="14">
                  <c:v>2.8808159999999998</c:v>
                </c:pt>
                <c:pt idx="15">
                  <c:v>2.753549</c:v>
                </c:pt>
                <c:pt idx="16">
                  <c:v>2.6984170000000001</c:v>
                </c:pt>
                <c:pt idx="17">
                  <c:v>2.7478449999999999</c:v>
                </c:pt>
                <c:pt idx="18">
                  <c:v>2.634026</c:v>
                </c:pt>
                <c:pt idx="19">
                  <c:v>2.8500549999999998</c:v>
                </c:pt>
                <c:pt idx="20">
                  <c:v>2.8788179999999999</c:v>
                </c:pt>
                <c:pt idx="21">
                  <c:v>2.7845870000000001</c:v>
                </c:pt>
                <c:pt idx="22">
                  <c:v>2.7567460000000001</c:v>
                </c:pt>
                <c:pt idx="23">
                  <c:v>2.7569729999999999</c:v>
                </c:pt>
                <c:pt idx="24">
                  <c:v>2.85406</c:v>
                </c:pt>
                <c:pt idx="25">
                  <c:v>2.9073720000000001</c:v>
                </c:pt>
                <c:pt idx="26">
                  <c:v>2.6909529999999999</c:v>
                </c:pt>
                <c:pt idx="27">
                  <c:v>2.6913109999999998</c:v>
                </c:pt>
                <c:pt idx="28">
                  <c:v>2.6319279999999998</c:v>
                </c:pt>
                <c:pt idx="29">
                  <c:v>2.6556890000000002</c:v>
                </c:pt>
                <c:pt idx="30">
                  <c:v>2.7083219999999999</c:v>
                </c:pt>
                <c:pt idx="31">
                  <c:v>2.68371</c:v>
                </c:pt>
                <c:pt idx="32">
                  <c:v>2.6418699999999999</c:v>
                </c:pt>
                <c:pt idx="33">
                  <c:v>2.6155330000000001</c:v>
                </c:pt>
                <c:pt idx="34">
                  <c:v>2.7349169999999998</c:v>
                </c:pt>
                <c:pt idx="35">
                  <c:v>2.746524</c:v>
                </c:pt>
                <c:pt idx="36">
                  <c:v>2.6300659999999998</c:v>
                </c:pt>
                <c:pt idx="37">
                  <c:v>2.6247630000000002</c:v>
                </c:pt>
                <c:pt idx="38">
                  <c:v>2.5869680000000002</c:v>
                </c:pt>
                <c:pt idx="39">
                  <c:v>2.6269119999999999</c:v>
                </c:pt>
                <c:pt idx="40">
                  <c:v>2.585467</c:v>
                </c:pt>
                <c:pt idx="41">
                  <c:v>2.5960049999999999</c:v>
                </c:pt>
                <c:pt idx="42">
                  <c:v>2.5796570000000001</c:v>
                </c:pt>
                <c:pt idx="43">
                  <c:v>2.5940500000000002</c:v>
                </c:pt>
                <c:pt idx="44">
                  <c:v>2.6225939999999999</c:v>
                </c:pt>
                <c:pt idx="45">
                  <c:v>2.7274989999999999</c:v>
                </c:pt>
                <c:pt idx="46">
                  <c:v>2.6786279999999998</c:v>
                </c:pt>
                <c:pt idx="47">
                  <c:v>2.6499649999999999</c:v>
                </c:pt>
                <c:pt idx="48">
                  <c:v>2.497503</c:v>
                </c:pt>
                <c:pt idx="49">
                  <c:v>2.4735960000000001</c:v>
                </c:pt>
                <c:pt idx="50">
                  <c:v>2.859022</c:v>
                </c:pt>
                <c:pt idx="51">
                  <c:v>3.147247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83AD-4003-8912-03CA38DEB7D3}"/>
            </c:ext>
          </c:extLst>
        </c:ser>
        <c:ser>
          <c:idx val="2"/>
          <c:order val="2"/>
          <c:tx>
            <c:strRef>
              <c:f>Reefer_Rates_Incl_Fuel!$D$1</c:f>
              <c:strCache>
                <c:ptCount val="1"/>
                <c:pt idx="0">
                  <c:v>2021</c:v>
                </c:pt>
              </c:strCache>
            </c:strRef>
          </c:tx>
          <c:spPr>
            <a:ln w="31750" cap="rnd">
              <a:solidFill>
                <a:srgbClr val="C0000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Reefer_Rates_Incl_Fuel!$D$2:$D$53</c:f>
              <c:numCache>
                <c:formatCode>"$"#,##0.000000</c:formatCode>
                <c:ptCount val="52"/>
                <c:pt idx="0">
                  <c:v>2.8503949999999998</c:v>
                </c:pt>
                <c:pt idx="1">
                  <c:v>2.6399879999999998</c:v>
                </c:pt>
                <c:pt idx="2">
                  <c:v>2.4078849999999998</c:v>
                </c:pt>
                <c:pt idx="3">
                  <c:v>2.4252690000000001</c:v>
                </c:pt>
                <c:pt idx="4">
                  <c:v>2.471047</c:v>
                </c:pt>
                <c:pt idx="5">
                  <c:v>2.6136509999999999</c:v>
                </c:pt>
                <c:pt idx="6">
                  <c:v>2.901716</c:v>
                </c:pt>
                <c:pt idx="7">
                  <c:v>2.9808840000000001</c:v>
                </c:pt>
                <c:pt idx="8">
                  <c:v>2.9209049999999999</c:v>
                </c:pt>
                <c:pt idx="9">
                  <c:v>2.8693529999999998</c:v>
                </c:pt>
                <c:pt idx="10">
                  <c:v>2.9179360000000001</c:v>
                </c:pt>
                <c:pt idx="11">
                  <c:v>2.9210240000000001</c:v>
                </c:pt>
                <c:pt idx="12">
                  <c:v>2.9790130000000001</c:v>
                </c:pt>
                <c:pt idx="13">
                  <c:v>2.899715</c:v>
                </c:pt>
                <c:pt idx="14">
                  <c:v>2.89568</c:v>
                </c:pt>
                <c:pt idx="15">
                  <c:v>2.8718370000000002</c:v>
                </c:pt>
                <c:pt idx="16">
                  <c:v>2.9630649999999998</c:v>
                </c:pt>
                <c:pt idx="17">
                  <c:v>3.264481</c:v>
                </c:pt>
                <c:pt idx="18">
                  <c:v>3.1402960000000002</c:v>
                </c:pt>
                <c:pt idx="19">
                  <c:v>3.1724100000000002</c:v>
                </c:pt>
                <c:pt idx="20">
                  <c:v>3.373777</c:v>
                </c:pt>
                <c:pt idx="21">
                  <c:v>3.2144330000000001</c:v>
                </c:pt>
                <c:pt idx="22">
                  <c:v>3.1025079999999998</c:v>
                </c:pt>
                <c:pt idx="23">
                  <c:v>3.202372</c:v>
                </c:pt>
                <c:pt idx="24">
                  <c:v>3.3590879999999999</c:v>
                </c:pt>
                <c:pt idx="25">
                  <c:v>3.427133</c:v>
                </c:pt>
                <c:pt idx="26">
                  <c:v>3.2502390000000001</c:v>
                </c:pt>
                <c:pt idx="27">
                  <c:v>3.1969069999999999</c:v>
                </c:pt>
                <c:pt idx="28">
                  <c:v>3.160704</c:v>
                </c:pt>
                <c:pt idx="29">
                  <c:v>3.2223959999999998</c:v>
                </c:pt>
                <c:pt idx="30">
                  <c:v>3.2716530000000001</c:v>
                </c:pt>
                <c:pt idx="31">
                  <c:v>3.2799459999999998</c:v>
                </c:pt>
                <c:pt idx="32">
                  <c:v>3.3284180000000001</c:v>
                </c:pt>
                <c:pt idx="33">
                  <c:v>3.3521290000000001</c:v>
                </c:pt>
                <c:pt idx="34">
                  <c:v>3.4766279999999998</c:v>
                </c:pt>
                <c:pt idx="35">
                  <c:v>3.5235240000000001</c:v>
                </c:pt>
                <c:pt idx="36">
                  <c:v>3.440798</c:v>
                </c:pt>
                <c:pt idx="37">
                  <c:v>3.39825</c:v>
                </c:pt>
                <c:pt idx="38">
                  <c:v>3.325034</c:v>
                </c:pt>
                <c:pt idx="39">
                  <c:v>3.1964459999999999</c:v>
                </c:pt>
                <c:pt idx="40">
                  <c:v>3.2765230000000001</c:v>
                </c:pt>
                <c:pt idx="41">
                  <c:v>3.199732</c:v>
                </c:pt>
                <c:pt idx="42">
                  <c:v>3.2170649999999998</c:v>
                </c:pt>
                <c:pt idx="43">
                  <c:v>3.3406440000000002</c:v>
                </c:pt>
                <c:pt idx="44">
                  <c:v>3.3673359999999999</c:v>
                </c:pt>
                <c:pt idx="45">
                  <c:v>3.4535650000000002</c:v>
                </c:pt>
                <c:pt idx="46">
                  <c:v>3.4386510000000001</c:v>
                </c:pt>
                <c:pt idx="47">
                  <c:v>3.4752049999999999</c:v>
                </c:pt>
                <c:pt idx="48">
                  <c:v>3.3324820000000002</c:v>
                </c:pt>
                <c:pt idx="49">
                  <c:v>3.2781229999999999</c:v>
                </c:pt>
                <c:pt idx="50">
                  <c:v>3.6485150000000002</c:v>
                </c:pt>
                <c:pt idx="51">
                  <c:v>3.958727999999999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83AD-4003-8912-03CA38DEB7D3}"/>
            </c:ext>
          </c:extLst>
        </c:ser>
        <c:ser>
          <c:idx val="3"/>
          <c:order val="3"/>
          <c:tx>
            <c:strRef>
              <c:f>Reefer_Rates_Incl_Fuel!$E$1</c:f>
              <c:strCache>
                <c:ptCount val="1"/>
                <c:pt idx="0">
                  <c:v>5-Yr Avg</c:v>
                </c:pt>
              </c:strCache>
            </c:strRef>
          </c:tx>
          <c:spPr>
            <a:ln w="3175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Reefer_Rates_Incl_Fuel!$E$2:$E$53</c:f>
              <c:numCache>
                <c:formatCode>"$"#,##0.000000</c:formatCode>
                <c:ptCount val="52"/>
                <c:pt idx="0">
                  <c:v>2.7943186452472415</c:v>
                </c:pt>
                <c:pt idx="1">
                  <c:v>2.6332896425986916</c:v>
                </c:pt>
                <c:pt idx="2">
                  <c:v>2.4880121681600804</c:v>
                </c:pt>
                <c:pt idx="3">
                  <c:v>2.4269795138657524</c:v>
                </c:pt>
                <c:pt idx="4">
                  <c:v>2.4448270294911181</c:v>
                </c:pt>
                <c:pt idx="5">
                  <c:v>2.4263645073330009</c:v>
                </c:pt>
                <c:pt idx="6">
                  <c:v>2.4757586131088543</c:v>
                </c:pt>
                <c:pt idx="7">
                  <c:v>2.486285518211</c:v>
                </c:pt>
                <c:pt idx="8">
                  <c:v>2.469669188799986</c:v>
                </c:pt>
                <c:pt idx="9">
                  <c:v>2.4582537465822467</c:v>
                </c:pt>
                <c:pt idx="10">
                  <c:v>2.4975897737534072</c:v>
                </c:pt>
                <c:pt idx="11">
                  <c:v>2.488784370544292</c:v>
                </c:pt>
                <c:pt idx="12">
                  <c:v>2.4333025161229722</c:v>
                </c:pt>
                <c:pt idx="13">
                  <c:v>2.3515826344112276</c:v>
                </c:pt>
                <c:pt idx="14">
                  <c:v>2.3076762383693135</c:v>
                </c:pt>
                <c:pt idx="15">
                  <c:v>2.3069276450146701</c:v>
                </c:pt>
                <c:pt idx="16">
                  <c:v>2.360830699589934</c:v>
                </c:pt>
                <c:pt idx="17">
                  <c:v>2.4971257729496279</c:v>
                </c:pt>
                <c:pt idx="18">
                  <c:v>2.4449629698034876</c:v>
                </c:pt>
                <c:pt idx="19">
                  <c:v>2.5287432426989538</c:v>
                </c:pt>
                <c:pt idx="20">
                  <c:v>2.5693924013920588</c:v>
                </c:pt>
                <c:pt idx="21">
                  <c:v>2.5337588842196888</c:v>
                </c:pt>
                <c:pt idx="22">
                  <c:v>2.5250607257514952</c:v>
                </c:pt>
                <c:pt idx="23">
                  <c:v>2.5324606449413523</c:v>
                </c:pt>
                <c:pt idx="24">
                  <c:v>2.6219477316685276</c:v>
                </c:pt>
                <c:pt idx="25">
                  <c:v>2.7050221573089859</c:v>
                </c:pt>
                <c:pt idx="26">
                  <c:v>2.5794489227830573</c:v>
                </c:pt>
                <c:pt idx="27">
                  <c:v>2.5177142266331849</c:v>
                </c:pt>
                <c:pt idx="28">
                  <c:v>2.4773749332512707</c:v>
                </c:pt>
                <c:pt idx="29">
                  <c:v>2.5005763433588735</c:v>
                </c:pt>
                <c:pt idx="30">
                  <c:v>2.5571860783418487</c:v>
                </c:pt>
                <c:pt idx="31">
                  <c:v>2.5431208551128797</c:v>
                </c:pt>
                <c:pt idx="32">
                  <c:v>2.5701879081038697</c:v>
                </c:pt>
                <c:pt idx="33">
                  <c:v>2.5884669551090504</c:v>
                </c:pt>
                <c:pt idx="34">
                  <c:v>2.6811342513790368</c:v>
                </c:pt>
                <c:pt idx="35">
                  <c:v>2.6923063384724331</c:v>
                </c:pt>
                <c:pt idx="36">
                  <c:v>2.6173897430882844</c:v>
                </c:pt>
                <c:pt idx="37">
                  <c:v>2.5706350870824672</c:v>
                </c:pt>
                <c:pt idx="38">
                  <c:v>2.546237742005578</c:v>
                </c:pt>
                <c:pt idx="39">
                  <c:v>2.5135687567598266</c:v>
                </c:pt>
                <c:pt idx="40">
                  <c:v>2.5017587588715382</c:v>
                </c:pt>
                <c:pt idx="41">
                  <c:v>2.4755545503111351</c:v>
                </c:pt>
                <c:pt idx="42">
                  <c:v>2.4588231989075413</c:v>
                </c:pt>
                <c:pt idx="43">
                  <c:v>2.5452737716255207</c:v>
                </c:pt>
                <c:pt idx="44">
                  <c:v>2.5720625904171013</c:v>
                </c:pt>
                <c:pt idx="45">
                  <c:v>2.6526007584247031</c:v>
                </c:pt>
                <c:pt idx="46">
                  <c:v>2.6601547456926542</c:v>
                </c:pt>
                <c:pt idx="47">
                  <c:v>2.6458332929396358</c:v>
                </c:pt>
                <c:pt idx="48">
                  <c:v>2.5332805360429829</c:v>
                </c:pt>
                <c:pt idx="49">
                  <c:v>2.4765069891552711</c:v>
                </c:pt>
                <c:pt idx="50">
                  <c:v>2.7522843409343496</c:v>
                </c:pt>
                <c:pt idx="51">
                  <c:v>2.967281191116129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83AD-4003-8912-03CA38DEB7D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353840"/>
        <c:axId val="483357776"/>
      </c:lineChart>
      <c:catAx>
        <c:axId val="4833538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7776"/>
        <c:crosses val="autoZero"/>
        <c:auto val="1"/>
        <c:lblAlgn val="ctr"/>
        <c:lblOffset val="100"/>
        <c:tickLblSkip val="4"/>
        <c:noMultiLvlLbl val="0"/>
      </c:catAx>
      <c:valAx>
        <c:axId val="483357776"/>
        <c:scaling>
          <c:orientation val="minMax"/>
          <c:max val="4.25"/>
          <c:min val="1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3840"/>
        <c:crosses val="autoZero"/>
        <c:crossBetween val="between"/>
        <c:majorUnit val="0.25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9.8964530475357249E-2"/>
          <c:y val="0.76522834645669291"/>
          <c:w val="0.60622922134733148"/>
          <c:h val="7.1801618547681537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2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Loadings originated, monthly, seasonally adjusted</a:t>
            </a:r>
          </a:p>
        </c:rich>
      </c:tx>
      <c:layout>
        <c:manualLayout>
          <c:xMode val="edge"/>
          <c:yMode val="edge"/>
          <c:x val="9.2773878808627183E-2"/>
          <c:y val="3.549956255468066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9525037673356039E-2"/>
          <c:y val="0.10115377967798796"/>
          <c:w val="0.88715181156106715"/>
          <c:h val="0.71463670166229221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adings History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Pt>
            <c:idx val="3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613D-E54A-9BA6-CC833435284D}"/>
              </c:ext>
            </c:extLst>
          </c:dPt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308</c:f>
              <c:numCache>
                <c:formatCode>[$-409]mmm\-yy;@</c:formatCode>
                <c:ptCount val="307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  <c:pt idx="300">
                  <c:v>45658</c:v>
                </c:pt>
                <c:pt idx="301">
                  <c:v>45689</c:v>
                </c:pt>
                <c:pt idx="302">
                  <c:v>45717</c:v>
                </c:pt>
                <c:pt idx="303">
                  <c:v>45748</c:v>
                </c:pt>
                <c:pt idx="304">
                  <c:v>45778</c:v>
                </c:pt>
                <c:pt idx="305">
                  <c:v>45809</c:v>
                </c:pt>
                <c:pt idx="306">
                  <c:v>45839</c:v>
                </c:pt>
              </c:numCache>
            </c:numRef>
          </c:cat>
          <c:val>
            <c:numRef>
              <c:f>Sheet1!$B$2:$B$308</c:f>
              <c:numCache>
                <c:formatCode>_(* #,##0_);_(* \(#,##0\);_(* "-"??_);_(@_)</c:formatCode>
                <c:ptCount val="307"/>
                <c:pt idx="0">
                  <c:v>3586575.6269218605</c:v>
                </c:pt>
                <c:pt idx="1">
                  <c:v>3586704.9563076547</c:v>
                </c:pt>
                <c:pt idx="2">
                  <c:v>3577602.9642230966</c:v>
                </c:pt>
                <c:pt idx="3">
                  <c:v>3657440.8925162554</c:v>
                </c:pt>
                <c:pt idx="4">
                  <c:v>3658790.325732151</c:v>
                </c:pt>
                <c:pt idx="5">
                  <c:v>3648695.1770088952</c:v>
                </c:pt>
                <c:pt idx="6">
                  <c:v>3716487.9727032199</c:v>
                </c:pt>
                <c:pt idx="7">
                  <c:v>3651870.494804726</c:v>
                </c:pt>
                <c:pt idx="8">
                  <c:v>3653085.5029535377</c:v>
                </c:pt>
                <c:pt idx="9">
                  <c:v>3703620.5119694364</c:v>
                </c:pt>
                <c:pt idx="10">
                  <c:v>3725962.5494723357</c:v>
                </c:pt>
                <c:pt idx="11">
                  <c:v>3706419.5793256811</c:v>
                </c:pt>
                <c:pt idx="12">
                  <c:v>3658562.0753594013</c:v>
                </c:pt>
                <c:pt idx="13">
                  <c:v>3662580.7754799062</c:v>
                </c:pt>
                <c:pt idx="14">
                  <c:v>3653673.3278733641</c:v>
                </c:pt>
                <c:pt idx="15">
                  <c:v>3594734.1517665647</c:v>
                </c:pt>
                <c:pt idx="16">
                  <c:v>3643514.7962601697</c:v>
                </c:pt>
                <c:pt idx="17">
                  <c:v>3657368.7056830069</c:v>
                </c:pt>
                <c:pt idx="18">
                  <c:v>3634684.8594220723</c:v>
                </c:pt>
                <c:pt idx="19">
                  <c:v>3573625.0858796071</c:v>
                </c:pt>
                <c:pt idx="20">
                  <c:v>3596771.7353566075</c:v>
                </c:pt>
                <c:pt idx="21">
                  <c:v>3652651.3739494011</c:v>
                </c:pt>
                <c:pt idx="22">
                  <c:v>3701505.8590701199</c:v>
                </c:pt>
                <c:pt idx="23">
                  <c:v>3735454.5098475674</c:v>
                </c:pt>
                <c:pt idx="24">
                  <c:v>3669164.1027919636</c:v>
                </c:pt>
                <c:pt idx="25">
                  <c:v>3674802.931000948</c:v>
                </c:pt>
                <c:pt idx="26">
                  <c:v>3687390.6564236227</c:v>
                </c:pt>
                <c:pt idx="27">
                  <c:v>3787994.5106983753</c:v>
                </c:pt>
                <c:pt idx="28">
                  <c:v>3765923.9477557819</c:v>
                </c:pt>
                <c:pt idx="29">
                  <c:v>3764178.8891227301</c:v>
                </c:pt>
                <c:pt idx="30">
                  <c:v>3784513.2571093696</c:v>
                </c:pt>
                <c:pt idx="31">
                  <c:v>3803289.7078825436</c:v>
                </c:pt>
                <c:pt idx="32">
                  <c:v>3776666.1394867119</c:v>
                </c:pt>
                <c:pt idx="33">
                  <c:v>3755266.6142892083</c:v>
                </c:pt>
                <c:pt idx="34">
                  <c:v>3793187.910698866</c:v>
                </c:pt>
                <c:pt idx="35">
                  <c:v>3750727.3134268383</c:v>
                </c:pt>
                <c:pt idx="36">
                  <c:v>3722835.5051001539</c:v>
                </c:pt>
                <c:pt idx="37">
                  <c:v>3738448.6058648811</c:v>
                </c:pt>
                <c:pt idx="38">
                  <c:v>3736150.8292174973</c:v>
                </c:pt>
                <c:pt idx="39">
                  <c:v>3769427.0361656607</c:v>
                </c:pt>
                <c:pt idx="40">
                  <c:v>3745889.6764782621</c:v>
                </c:pt>
                <c:pt idx="41">
                  <c:v>3739846.3745631627</c:v>
                </c:pt>
                <c:pt idx="42">
                  <c:v>3688849.0778930695</c:v>
                </c:pt>
                <c:pt idx="43">
                  <c:v>3715464.2659454378</c:v>
                </c:pt>
                <c:pt idx="44">
                  <c:v>3745683.9701084052</c:v>
                </c:pt>
                <c:pt idx="45">
                  <c:v>3692496.6019126931</c:v>
                </c:pt>
                <c:pt idx="46">
                  <c:v>3609990.7122041862</c:v>
                </c:pt>
                <c:pt idx="47">
                  <c:v>3639451.755891779</c:v>
                </c:pt>
                <c:pt idx="48">
                  <c:v>3715319.8500518948</c:v>
                </c:pt>
                <c:pt idx="49">
                  <c:v>3696987.0832333434</c:v>
                </c:pt>
                <c:pt idx="50">
                  <c:v>3702970.7239104211</c:v>
                </c:pt>
                <c:pt idx="51">
                  <c:v>3741070.5954823294</c:v>
                </c:pt>
                <c:pt idx="52">
                  <c:v>3768321.1995630404</c:v>
                </c:pt>
                <c:pt idx="53">
                  <c:v>3762960.67130055</c:v>
                </c:pt>
                <c:pt idx="54">
                  <c:v>3825327.8399700369</c:v>
                </c:pt>
                <c:pt idx="55">
                  <c:v>3830207.6117689707</c:v>
                </c:pt>
                <c:pt idx="56">
                  <c:v>3799572.0801913724</c:v>
                </c:pt>
                <c:pt idx="57">
                  <c:v>3906596.2785663917</c:v>
                </c:pt>
                <c:pt idx="58">
                  <c:v>3886289.802665181</c:v>
                </c:pt>
                <c:pt idx="59">
                  <c:v>3928413.8104026038</c:v>
                </c:pt>
                <c:pt idx="60">
                  <c:v>3851547.2346152728</c:v>
                </c:pt>
                <c:pt idx="61">
                  <c:v>3867803.3153979345</c:v>
                </c:pt>
                <c:pt idx="62">
                  <c:v>3860427.7609309</c:v>
                </c:pt>
                <c:pt idx="63">
                  <c:v>3831731.2321587508</c:v>
                </c:pt>
                <c:pt idx="64">
                  <c:v>3851505.4761504112</c:v>
                </c:pt>
                <c:pt idx="65">
                  <c:v>3891073.0714976396</c:v>
                </c:pt>
                <c:pt idx="66">
                  <c:v>3878339.7432214147</c:v>
                </c:pt>
                <c:pt idx="67">
                  <c:v>3869934.6999538615</c:v>
                </c:pt>
                <c:pt idx="68">
                  <c:v>3787948.7135535269</c:v>
                </c:pt>
                <c:pt idx="69">
                  <c:v>3741945.616237998</c:v>
                </c:pt>
                <c:pt idx="70">
                  <c:v>3816760.1738530132</c:v>
                </c:pt>
                <c:pt idx="71">
                  <c:v>3820799.0344658718</c:v>
                </c:pt>
                <c:pt idx="72">
                  <c:v>3875706.947776915</c:v>
                </c:pt>
                <c:pt idx="73">
                  <c:v>3876700.5969414786</c:v>
                </c:pt>
                <c:pt idx="74">
                  <c:v>3868030.3088279925</c:v>
                </c:pt>
                <c:pt idx="75">
                  <c:v>3993008.4796159142</c:v>
                </c:pt>
                <c:pt idx="76">
                  <c:v>3989610.2182230833</c:v>
                </c:pt>
                <c:pt idx="77">
                  <c:v>3988770.4538134625</c:v>
                </c:pt>
                <c:pt idx="78">
                  <c:v>3986664.0670812326</c:v>
                </c:pt>
                <c:pt idx="79">
                  <c:v>3984718.9742236328</c:v>
                </c:pt>
                <c:pt idx="80">
                  <c:v>4037945.3275427986</c:v>
                </c:pt>
                <c:pt idx="81">
                  <c:v>4051945.6301034368</c:v>
                </c:pt>
                <c:pt idx="82">
                  <c:v>4090064.8402730189</c:v>
                </c:pt>
                <c:pt idx="83">
                  <c:v>4079245.5558338077</c:v>
                </c:pt>
                <c:pt idx="84">
                  <c:v>3979076.54883816</c:v>
                </c:pt>
                <c:pt idx="85">
                  <c:v>3993208.6157820551</c:v>
                </c:pt>
                <c:pt idx="86">
                  <c:v>4013856.1189703746</c:v>
                </c:pt>
                <c:pt idx="87">
                  <c:v>3937662.1112395716</c:v>
                </c:pt>
                <c:pt idx="88">
                  <c:v>3897846.6581343501</c:v>
                </c:pt>
                <c:pt idx="89">
                  <c:v>3883569.5043300302</c:v>
                </c:pt>
                <c:pt idx="90">
                  <c:v>4005768.8217948368</c:v>
                </c:pt>
                <c:pt idx="91">
                  <c:v>3877427.2015523706</c:v>
                </c:pt>
                <c:pt idx="92">
                  <c:v>3848949.9168579974</c:v>
                </c:pt>
                <c:pt idx="93">
                  <c:v>3875496.5229060776</c:v>
                </c:pt>
                <c:pt idx="94">
                  <c:v>3899673.4411343606</c:v>
                </c:pt>
                <c:pt idx="95">
                  <c:v>3893760.3666638969</c:v>
                </c:pt>
                <c:pt idx="96">
                  <c:v>3933990.8402458606</c:v>
                </c:pt>
                <c:pt idx="97">
                  <c:v>3932913.055454894</c:v>
                </c:pt>
                <c:pt idx="98">
                  <c:v>3923703.1698518712</c:v>
                </c:pt>
                <c:pt idx="99">
                  <c:v>3982255.0039522955</c:v>
                </c:pt>
                <c:pt idx="100">
                  <c:v>3996788.8898523306</c:v>
                </c:pt>
                <c:pt idx="101">
                  <c:v>3954080.6695902431</c:v>
                </c:pt>
                <c:pt idx="102">
                  <c:v>3999982.6107779881</c:v>
                </c:pt>
                <c:pt idx="103">
                  <c:v>3936941.2909028749</c:v>
                </c:pt>
                <c:pt idx="104">
                  <c:v>4000692.7883099848</c:v>
                </c:pt>
                <c:pt idx="105">
                  <c:v>4068583.1261099977</c:v>
                </c:pt>
                <c:pt idx="106">
                  <c:v>4113678.0416802787</c:v>
                </c:pt>
                <c:pt idx="107">
                  <c:v>4041579.3057136163</c:v>
                </c:pt>
                <c:pt idx="108">
                  <c:v>4072551.9839905025</c:v>
                </c:pt>
                <c:pt idx="109">
                  <c:v>4055017.150347203</c:v>
                </c:pt>
                <c:pt idx="110">
                  <c:v>4032879.8217760511</c:v>
                </c:pt>
                <c:pt idx="111">
                  <c:v>3988258.1102407328</c:v>
                </c:pt>
                <c:pt idx="112">
                  <c:v>4002029.7450550064</c:v>
                </c:pt>
                <c:pt idx="113">
                  <c:v>4035862.1176683977</c:v>
                </c:pt>
                <c:pt idx="114">
                  <c:v>3881801.7336125621</c:v>
                </c:pt>
                <c:pt idx="115">
                  <c:v>3898728.1207820084</c:v>
                </c:pt>
                <c:pt idx="116">
                  <c:v>3919983.6697782115</c:v>
                </c:pt>
                <c:pt idx="117">
                  <c:v>3833199.6103097186</c:v>
                </c:pt>
                <c:pt idx="118">
                  <c:v>3791524.6994748414</c:v>
                </c:pt>
                <c:pt idx="119">
                  <c:v>3766659.8525985139</c:v>
                </c:pt>
                <c:pt idx="120">
                  <c:v>3909058.0401061587</c:v>
                </c:pt>
                <c:pt idx="121">
                  <c:v>3889117.2440890851</c:v>
                </c:pt>
                <c:pt idx="122">
                  <c:v>3906424.6143383891</c:v>
                </c:pt>
                <c:pt idx="123">
                  <c:v>3899527.673203784</c:v>
                </c:pt>
                <c:pt idx="124">
                  <c:v>3886265.9541338743</c:v>
                </c:pt>
                <c:pt idx="125">
                  <c:v>3866200.5348531394</c:v>
                </c:pt>
                <c:pt idx="126">
                  <c:v>3892516.4863162506</c:v>
                </c:pt>
                <c:pt idx="127">
                  <c:v>3943320.7439569202</c:v>
                </c:pt>
                <c:pt idx="128">
                  <c:v>3960511.3537386982</c:v>
                </c:pt>
                <c:pt idx="129">
                  <c:v>4017596.5236779917</c:v>
                </c:pt>
                <c:pt idx="130">
                  <c:v>4012724.5069060824</c:v>
                </c:pt>
                <c:pt idx="131">
                  <c:v>4007338.9154834943</c:v>
                </c:pt>
                <c:pt idx="132">
                  <c:v>3986231.3165945313</c:v>
                </c:pt>
                <c:pt idx="133">
                  <c:v>3993806.2606963245</c:v>
                </c:pt>
                <c:pt idx="134">
                  <c:v>3980442.8278587423</c:v>
                </c:pt>
                <c:pt idx="135">
                  <c:v>3990117.9248870844</c:v>
                </c:pt>
                <c:pt idx="136">
                  <c:v>3962252.5304808309</c:v>
                </c:pt>
                <c:pt idx="137">
                  <c:v>3963529.5198548697</c:v>
                </c:pt>
                <c:pt idx="138">
                  <c:v>3906259.5242086798</c:v>
                </c:pt>
                <c:pt idx="139">
                  <c:v>3927580.735815702</c:v>
                </c:pt>
                <c:pt idx="140">
                  <c:v>3970986.3664533356</c:v>
                </c:pt>
                <c:pt idx="141">
                  <c:v>3919366.1558789071</c:v>
                </c:pt>
                <c:pt idx="142">
                  <c:v>3871521.79576483</c:v>
                </c:pt>
                <c:pt idx="143">
                  <c:v>3874772.7263610493</c:v>
                </c:pt>
                <c:pt idx="144">
                  <c:v>3799043.7034290349</c:v>
                </c:pt>
                <c:pt idx="145">
                  <c:v>3808464.4773252434</c:v>
                </c:pt>
                <c:pt idx="146">
                  <c:v>3806162.3394412529</c:v>
                </c:pt>
                <c:pt idx="147">
                  <c:v>3826064.4976719134</c:v>
                </c:pt>
                <c:pt idx="148">
                  <c:v>3869185.5746151004</c:v>
                </c:pt>
                <c:pt idx="149">
                  <c:v>3836270.0150674162</c:v>
                </c:pt>
                <c:pt idx="150">
                  <c:v>3775997.2373511652</c:v>
                </c:pt>
                <c:pt idx="151">
                  <c:v>3809312.5892420961</c:v>
                </c:pt>
                <c:pt idx="152">
                  <c:v>3791511.057238346</c:v>
                </c:pt>
                <c:pt idx="153">
                  <c:v>3785456.9282705411</c:v>
                </c:pt>
                <c:pt idx="154">
                  <c:v>3775591.5676589054</c:v>
                </c:pt>
                <c:pt idx="155">
                  <c:v>3828529.6862874655</c:v>
                </c:pt>
                <c:pt idx="156">
                  <c:v>3758511.6160682505</c:v>
                </c:pt>
                <c:pt idx="157">
                  <c:v>3787354.358505873</c:v>
                </c:pt>
                <c:pt idx="158">
                  <c:v>3754322.3781077736</c:v>
                </c:pt>
                <c:pt idx="159">
                  <c:v>3795251.638993354</c:v>
                </c:pt>
                <c:pt idx="160">
                  <c:v>3785537.685787213</c:v>
                </c:pt>
                <c:pt idx="161">
                  <c:v>3807169.2660717592</c:v>
                </c:pt>
                <c:pt idx="162">
                  <c:v>3820593.5870281272</c:v>
                </c:pt>
                <c:pt idx="163">
                  <c:v>3766024.747692483</c:v>
                </c:pt>
                <c:pt idx="164">
                  <c:v>3742889.2575885723</c:v>
                </c:pt>
                <c:pt idx="165">
                  <c:v>3673414.7661965326</c:v>
                </c:pt>
                <c:pt idx="166">
                  <c:v>3667901.8591031586</c:v>
                </c:pt>
                <c:pt idx="167">
                  <c:v>3687048.6328307828</c:v>
                </c:pt>
                <c:pt idx="168">
                  <c:v>3606741.960638863</c:v>
                </c:pt>
                <c:pt idx="169">
                  <c:v>3618987.1962942174</c:v>
                </c:pt>
                <c:pt idx="170">
                  <c:v>3595436.9657003409</c:v>
                </c:pt>
                <c:pt idx="171">
                  <c:v>3663780.7267885413</c:v>
                </c:pt>
                <c:pt idx="172">
                  <c:v>3633883.3892392307</c:v>
                </c:pt>
                <c:pt idx="173">
                  <c:v>3693170.8627797188</c:v>
                </c:pt>
                <c:pt idx="174">
                  <c:v>3697234.6601316994</c:v>
                </c:pt>
                <c:pt idx="175">
                  <c:v>3686271.2989092935</c:v>
                </c:pt>
                <c:pt idx="176">
                  <c:v>3709608.0520735518</c:v>
                </c:pt>
                <c:pt idx="177">
                  <c:v>3742117.8447879166</c:v>
                </c:pt>
                <c:pt idx="178">
                  <c:v>3755859.991794195</c:v>
                </c:pt>
                <c:pt idx="179">
                  <c:v>3780892.3658045232</c:v>
                </c:pt>
                <c:pt idx="180">
                  <c:v>3803031.6912917257</c:v>
                </c:pt>
                <c:pt idx="181">
                  <c:v>3787299.6422217507</c:v>
                </c:pt>
                <c:pt idx="182">
                  <c:v>3811177.3086135411</c:v>
                </c:pt>
                <c:pt idx="183">
                  <c:v>3791639.2039742703</c:v>
                </c:pt>
                <c:pt idx="184">
                  <c:v>3765414.2113676909</c:v>
                </c:pt>
                <c:pt idx="185">
                  <c:v>3805916.3195682741</c:v>
                </c:pt>
                <c:pt idx="186">
                  <c:v>3712123.6066255085</c:v>
                </c:pt>
                <c:pt idx="187">
                  <c:v>3742064.5492744208</c:v>
                </c:pt>
                <c:pt idx="188">
                  <c:v>3797054.0183316576</c:v>
                </c:pt>
                <c:pt idx="189">
                  <c:v>3663470.1701272302</c:v>
                </c:pt>
                <c:pt idx="190">
                  <c:v>3696088.1149836169</c:v>
                </c:pt>
                <c:pt idx="191">
                  <c:v>3679612.4851093278</c:v>
                </c:pt>
                <c:pt idx="192">
                  <c:v>3787659.7872666125</c:v>
                </c:pt>
                <c:pt idx="193">
                  <c:v>3738876.2780834208</c:v>
                </c:pt>
                <c:pt idx="194">
                  <c:v>3744758.1792230536</c:v>
                </c:pt>
                <c:pt idx="195">
                  <c:v>3975168.9444615007</c:v>
                </c:pt>
                <c:pt idx="196">
                  <c:v>4013517.3750500735</c:v>
                </c:pt>
                <c:pt idx="197">
                  <c:v>4010778.3553441688</c:v>
                </c:pt>
                <c:pt idx="198">
                  <c:v>4139660.0427824929</c:v>
                </c:pt>
                <c:pt idx="199">
                  <c:v>4141255.9595684735</c:v>
                </c:pt>
                <c:pt idx="200">
                  <c:v>4108901.3923763605</c:v>
                </c:pt>
                <c:pt idx="201">
                  <c:v>4135939.5868485258</c:v>
                </c:pt>
                <c:pt idx="202">
                  <c:v>4144081.5201532776</c:v>
                </c:pt>
                <c:pt idx="203">
                  <c:v>4154200.4007854997</c:v>
                </c:pt>
                <c:pt idx="204">
                  <c:v>4240263.1754951803</c:v>
                </c:pt>
                <c:pt idx="205">
                  <c:v>4220260.2635231446</c:v>
                </c:pt>
                <c:pt idx="206">
                  <c:v>4205892.9589260556</c:v>
                </c:pt>
                <c:pt idx="207">
                  <c:v>4222990.1980800144</c:v>
                </c:pt>
                <c:pt idx="208">
                  <c:v>4213465.5320351748</c:v>
                </c:pt>
                <c:pt idx="209">
                  <c:v>4196938.3128733076</c:v>
                </c:pt>
                <c:pt idx="210">
                  <c:v>4212560.0268399715</c:v>
                </c:pt>
                <c:pt idx="211">
                  <c:v>4292011.057840704</c:v>
                </c:pt>
                <c:pt idx="212">
                  <c:v>4341864.6086116983</c:v>
                </c:pt>
                <c:pt idx="213">
                  <c:v>4305939.2777135503</c:v>
                </c:pt>
                <c:pt idx="214">
                  <c:v>4292454.4939441606</c:v>
                </c:pt>
                <c:pt idx="215">
                  <c:v>4311289.0267757522</c:v>
                </c:pt>
                <c:pt idx="216">
                  <c:v>4221506.179245648</c:v>
                </c:pt>
                <c:pt idx="217">
                  <c:v>4329778.1287709353</c:v>
                </c:pt>
                <c:pt idx="218">
                  <c:v>4274555.7998828609</c:v>
                </c:pt>
                <c:pt idx="219">
                  <c:v>4281809.3995367531</c:v>
                </c:pt>
                <c:pt idx="220">
                  <c:v>4296029.4916599682</c:v>
                </c:pt>
                <c:pt idx="221">
                  <c:v>4271862.5804432938</c:v>
                </c:pt>
                <c:pt idx="222">
                  <c:v>4309927.5055663465</c:v>
                </c:pt>
                <c:pt idx="223">
                  <c:v>4322825.2427791655</c:v>
                </c:pt>
                <c:pt idx="224">
                  <c:v>4266788.2104933616</c:v>
                </c:pt>
                <c:pt idx="225">
                  <c:v>4304809.1359795686</c:v>
                </c:pt>
                <c:pt idx="226">
                  <c:v>4246596.3214601967</c:v>
                </c:pt>
                <c:pt idx="227">
                  <c:v>4202694.6211647773</c:v>
                </c:pt>
                <c:pt idx="228">
                  <c:v>4344270.5779324481</c:v>
                </c:pt>
                <c:pt idx="229">
                  <c:v>4299016.7875861526</c:v>
                </c:pt>
                <c:pt idx="230">
                  <c:v>4319909.639672529</c:v>
                </c:pt>
                <c:pt idx="231">
                  <c:v>4304941.5067830021</c:v>
                </c:pt>
                <c:pt idx="232">
                  <c:v>4301867.7770983223</c:v>
                </c:pt>
                <c:pt idx="233">
                  <c:v>4358374.136967402</c:v>
                </c:pt>
                <c:pt idx="234">
                  <c:v>4325953.1531681819</c:v>
                </c:pt>
                <c:pt idx="235">
                  <c:v>4341030.7213491797</c:v>
                </c:pt>
                <c:pt idx="236">
                  <c:v>4348126.4587078085</c:v>
                </c:pt>
                <c:pt idx="237">
                  <c:v>4299497.7925740154</c:v>
                </c:pt>
                <c:pt idx="238">
                  <c:v>4306650.5045239571</c:v>
                </c:pt>
                <c:pt idx="239">
                  <c:v>4340597.5249990216</c:v>
                </c:pt>
                <c:pt idx="240">
                  <c:v>4317181.5575737506</c:v>
                </c:pt>
                <c:pt idx="241">
                  <c:v>4357215.2918964578</c:v>
                </c:pt>
                <c:pt idx="242">
                  <c:v>4351994.6234856024</c:v>
                </c:pt>
                <c:pt idx="243">
                  <c:v>4027122.2628638996</c:v>
                </c:pt>
                <c:pt idx="244">
                  <c:v>4104076.5042702104</c:v>
                </c:pt>
                <c:pt idx="245">
                  <c:v>4311300.3088290207</c:v>
                </c:pt>
                <c:pt idx="246">
                  <c:v>4350541.9029294187</c:v>
                </c:pt>
                <c:pt idx="247">
                  <c:v>4401398.1276079314</c:v>
                </c:pt>
                <c:pt idx="248">
                  <c:v>4370604.1052784007</c:v>
                </c:pt>
                <c:pt idx="249">
                  <c:v>4280571.9748927858</c:v>
                </c:pt>
                <c:pt idx="250">
                  <c:v>4352165.4039694089</c:v>
                </c:pt>
                <c:pt idx="251">
                  <c:v>4336670.0327766864</c:v>
                </c:pt>
                <c:pt idx="252">
                  <c:v>4382518.5936031761</c:v>
                </c:pt>
                <c:pt idx="253">
                  <c:v>4287439.5240006968</c:v>
                </c:pt>
                <c:pt idx="254">
                  <c:v>4340639.6928109378</c:v>
                </c:pt>
                <c:pt idx="255">
                  <c:v>4404291.4580645999</c:v>
                </c:pt>
                <c:pt idx="256">
                  <c:v>4356089.665913146</c:v>
                </c:pt>
                <c:pt idx="257">
                  <c:v>4300842.8499333523</c:v>
                </c:pt>
                <c:pt idx="258">
                  <c:v>4365015.8834400577</c:v>
                </c:pt>
                <c:pt idx="259">
                  <c:v>4348650.3641960463</c:v>
                </c:pt>
                <c:pt idx="260">
                  <c:v>4368630.393599486</c:v>
                </c:pt>
                <c:pt idx="261">
                  <c:v>4273753.4154651985</c:v>
                </c:pt>
                <c:pt idx="262">
                  <c:v>4374598.6399430959</c:v>
                </c:pt>
                <c:pt idx="263">
                  <c:v>4434206.3315163041</c:v>
                </c:pt>
                <c:pt idx="264">
                  <c:v>4336783.2162608262</c:v>
                </c:pt>
                <c:pt idx="265">
                  <c:v>4411112.1315860189</c:v>
                </c:pt>
                <c:pt idx="266">
                  <c:v>4387452.129819856</c:v>
                </c:pt>
                <c:pt idx="267">
                  <c:v>4392486.2159903962</c:v>
                </c:pt>
                <c:pt idx="268">
                  <c:v>4389170.8376786346</c:v>
                </c:pt>
                <c:pt idx="269">
                  <c:v>4404423.3475231128</c:v>
                </c:pt>
                <c:pt idx="270">
                  <c:v>4418476.3214234477</c:v>
                </c:pt>
                <c:pt idx="271">
                  <c:v>4414345.7735840119</c:v>
                </c:pt>
                <c:pt idx="272">
                  <c:v>4358098.4271156406</c:v>
                </c:pt>
                <c:pt idx="273">
                  <c:v>4458241.0434287125</c:v>
                </c:pt>
                <c:pt idx="274">
                  <c:v>4421191.2096173773</c:v>
                </c:pt>
                <c:pt idx="275">
                  <c:v>4402357.4985590763</c:v>
                </c:pt>
                <c:pt idx="276">
                  <c:v>4439197.2237713849</c:v>
                </c:pt>
                <c:pt idx="277">
                  <c:v>4439789.7794424826</c:v>
                </c:pt>
                <c:pt idx="278">
                  <c:v>4395673.7988257771</c:v>
                </c:pt>
                <c:pt idx="279">
                  <c:v>4424661.4887481285</c:v>
                </c:pt>
                <c:pt idx="280">
                  <c:v>4451208.5121220034</c:v>
                </c:pt>
                <c:pt idx="281">
                  <c:v>4402371.8416580977</c:v>
                </c:pt>
                <c:pt idx="282">
                  <c:v>4417871.416323293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0B8-4E87-930B-B84B9F64AB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orecast</c:v>
                </c:pt>
              </c:strCache>
            </c:strRef>
          </c:tx>
          <c:spPr>
            <a:ln w="38100" cap="rnd">
              <a:solidFill>
                <a:srgbClr val="00B050"/>
              </a:solidFill>
              <a:prstDash val="sysDash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A$2:$A$308</c:f>
              <c:numCache>
                <c:formatCode>[$-409]mmm\-yy;@</c:formatCode>
                <c:ptCount val="307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  <c:pt idx="300">
                  <c:v>45658</c:v>
                </c:pt>
                <c:pt idx="301">
                  <c:v>45689</c:v>
                </c:pt>
                <c:pt idx="302">
                  <c:v>45717</c:v>
                </c:pt>
                <c:pt idx="303">
                  <c:v>45748</c:v>
                </c:pt>
                <c:pt idx="304">
                  <c:v>45778</c:v>
                </c:pt>
                <c:pt idx="305">
                  <c:v>45809</c:v>
                </c:pt>
                <c:pt idx="306">
                  <c:v>45839</c:v>
                </c:pt>
              </c:numCache>
            </c:numRef>
          </c:cat>
          <c:val>
            <c:numRef>
              <c:f>Sheet1!$C$2:$C$308</c:f>
              <c:numCache>
                <c:formatCode>General</c:formatCode>
                <c:ptCount val="307"/>
                <c:pt idx="283" formatCode="_(* #,##0_);_(* \(#,##0\);_(* &quot;-&quot;??_);_(@_)">
                  <c:v>4418966.9751636116</c:v>
                </c:pt>
                <c:pt idx="284" formatCode="_(* #,##0_);_(* \(#,##0\);_(* &quot;-&quot;??_);_(@_)">
                  <c:v>4423182.6286639562</c:v>
                </c:pt>
                <c:pt idx="285" formatCode="_(* #,##0_);_(* \(#,##0\);_(* &quot;-&quot;??_);_(@_)">
                  <c:v>4435497.3548700893</c:v>
                </c:pt>
                <c:pt idx="286" formatCode="_(* #,##0_);_(* \(#,##0\);_(* &quot;-&quot;??_);_(@_)">
                  <c:v>4442218.9641561648</c:v>
                </c:pt>
                <c:pt idx="287" formatCode="_(* #,##0_);_(* \(#,##0\);_(* &quot;-&quot;??_);_(@_)">
                  <c:v>4448326.434567946</c:v>
                </c:pt>
                <c:pt idx="288" formatCode="_(* #,##0_);_(* \(#,##0\);_(* &quot;-&quot;??_);_(@_)">
                  <c:v>4449725.7102718055</c:v>
                </c:pt>
                <c:pt idx="289" formatCode="_(* #,##0_);_(* \(#,##0\);_(* &quot;-&quot;??_);_(@_)">
                  <c:v>4457675.4448102172</c:v>
                </c:pt>
                <c:pt idx="290" formatCode="_(* #,##0_);_(* \(#,##0\);_(* &quot;-&quot;??_);_(@_)">
                  <c:v>4468081.5823495546</c:v>
                </c:pt>
                <c:pt idx="291" formatCode="_(* #,##0_);_(* \(#,##0\);_(* &quot;-&quot;??_);_(@_)">
                  <c:v>4481193.9585821899</c:v>
                </c:pt>
                <c:pt idx="292" formatCode="_(* #,##0_);_(* \(#,##0\);_(* &quot;-&quot;??_);_(@_)">
                  <c:v>4496325.5253541023</c:v>
                </c:pt>
                <c:pt idx="293" formatCode="_(* #,##0_);_(* \(#,##0\);_(* &quot;-&quot;??_);_(@_)">
                  <c:v>4513726.1183576621</c:v>
                </c:pt>
                <c:pt idx="294" formatCode="_(* #,##0_);_(* \(#,##0\);_(* &quot;-&quot;??_);_(@_)">
                  <c:v>4536345.7137345197</c:v>
                </c:pt>
                <c:pt idx="295" formatCode="_(* #,##0_);_(* \(#,##0\);_(* &quot;-&quot;??_);_(@_)">
                  <c:v>4556071.8770951396</c:v>
                </c:pt>
                <c:pt idx="296" formatCode="_(* #,##0_);_(* \(#,##0\);_(* &quot;-&quot;??_);_(@_)">
                  <c:v>4575854.5845811684</c:v>
                </c:pt>
                <c:pt idx="297" formatCode="_(* #,##0_);_(* \(#,##0\);_(* &quot;-&quot;??_);_(@_)">
                  <c:v>4593407.854935552</c:v>
                </c:pt>
                <c:pt idx="298" formatCode="_(* #,##0_);_(* \(#,##0\);_(* &quot;-&quot;??_);_(@_)">
                  <c:v>4615018.1366151944</c:v>
                </c:pt>
                <c:pt idx="299" formatCode="_(* #,##0_);_(* \(#,##0\);_(* &quot;-&quot;??_);_(@_)">
                  <c:v>4638399.4483630396</c:v>
                </c:pt>
                <c:pt idx="300" formatCode="_(* #,##0_);_(* \(#,##0\);_(* &quot;-&quot;??_);_(@_)">
                  <c:v>4673107.355311757</c:v>
                </c:pt>
                <c:pt idx="301" formatCode="_(* #,##0_);_(* \(#,##0\);_(* &quot;-&quot;??_);_(@_)">
                  <c:v>4692864.0533465045</c:v>
                </c:pt>
                <c:pt idx="302" formatCode="_(* #,##0_);_(* \(#,##0\);_(* &quot;-&quot;??_);_(@_)">
                  <c:v>4707225.1075999495</c:v>
                </c:pt>
                <c:pt idx="303" formatCode="_(* #,##0_);_(* \(#,##0\);_(* &quot;-&quot;??_);_(@_)">
                  <c:v>4713221.466897822</c:v>
                </c:pt>
                <c:pt idx="304" formatCode="_(* #,##0_);_(* \(#,##0\);_(* &quot;-&quot;??_);_(@_)">
                  <c:v>4719018.0219693752</c:v>
                </c:pt>
                <c:pt idx="305" formatCode="_(* #,##0_);_(* \(#,##0\);_(* &quot;-&quot;??_);_(@_)">
                  <c:v>4721645.7216403289</c:v>
                </c:pt>
                <c:pt idx="306" formatCode="_(* #,##0_);_(* \(#,##0\);_(* &quot;-&quot;??_);_(@_)">
                  <c:v>4722017.55402169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9B-E94B-90FA-12166EDDD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5354928"/>
        <c:axId val="375355712"/>
      </c:lineChart>
      <c:dateAx>
        <c:axId val="375354928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yyyy" sourceLinked="0"/>
        <c:majorTickMark val="out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355712"/>
        <c:crosses val="autoZero"/>
        <c:auto val="1"/>
        <c:lblOffset val="100"/>
        <c:baseTimeUnit val="months"/>
        <c:majorUnit val="12"/>
        <c:majorTimeUnit val="months"/>
        <c:minorUnit val="12"/>
        <c:minorTimeUnit val="months"/>
      </c:dateAx>
      <c:valAx>
        <c:axId val="375355712"/>
        <c:scaling>
          <c:orientation val="minMax"/>
          <c:max val="5000000"/>
          <c:min val="30000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.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354928"/>
        <c:crosses val="autoZero"/>
        <c:crossBetween val="between"/>
        <c:majorUnit val="500000"/>
        <c:dispUnits>
          <c:builtInUnit val="millions"/>
          <c:dispUnitsLbl>
            <c:layout>
              <c:manualLayout>
                <c:xMode val="edge"/>
                <c:yMode val="edge"/>
                <c:x val="1.4351059378447262E-3"/>
                <c:y val="0.20467191601049869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sz="1400" dirty="0">
                      <a:solidFill>
                        <a:srgbClr val="000000"/>
                      </a:solidFill>
                    </a:rPr>
                    <a:t>Millions of loadings originated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0"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 u="none" dirty="0">
                <a:solidFill>
                  <a:sysClr val="windowText" lastClr="000000"/>
                </a:solidFill>
              </a:rPr>
              <a:t>Consumer Price Index</a:t>
            </a:r>
            <a:endParaRPr lang="en-US" sz="1800" u="none" dirty="0">
              <a:solidFill>
                <a:sysClr val="windowText" lastClr="000000"/>
              </a:solidFill>
            </a:endParaRPr>
          </a:p>
          <a:p>
            <a:pPr algn="l">
              <a:defRPr/>
            </a:pPr>
            <a:r>
              <a:rPr lang="en-US" sz="1400" b="1" u="sng" dirty="0">
                <a:solidFill>
                  <a:sysClr val="windowText" lastClr="000000"/>
                </a:solidFill>
              </a:rPr>
              <a:t>12-month change</a:t>
            </a:r>
            <a:r>
              <a:rPr lang="en-US" sz="1400" dirty="0">
                <a:solidFill>
                  <a:sysClr val="windowText" lastClr="000000"/>
                </a:solidFill>
              </a:rPr>
              <a:t>, not s</a:t>
            </a:r>
            <a:r>
              <a:rPr lang="en-US" sz="1400" baseline="0" dirty="0">
                <a:solidFill>
                  <a:sysClr val="windowText" lastClr="000000"/>
                </a:solidFill>
              </a:rPr>
              <a:t>easonally adjusted</a:t>
            </a:r>
            <a:endParaRPr lang="en-US" sz="1400" dirty="0">
              <a:solidFill>
                <a:sysClr val="windowText" lastClr="000000"/>
              </a:solidFill>
            </a:endParaRPr>
          </a:p>
        </c:rich>
      </c:tx>
      <c:layout>
        <c:manualLayout>
          <c:xMode val="edge"/>
          <c:yMode val="edge"/>
          <c:x val="8.8641550014581502E-2"/>
          <c:y val="1.2550306211723532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6725056107117045E-2"/>
          <c:y val="0.13036482939632546"/>
          <c:w val="0.92815445623644866"/>
          <c:h val="0.70911592300962378"/>
        </c:manualLayout>
      </c:layout>
      <c:lineChart>
        <c:grouping val="standard"/>
        <c:varyColors val="0"/>
        <c:ser>
          <c:idx val="2"/>
          <c:order val="0"/>
          <c:spPr>
            <a:ln w="38100" cap="rnd">
              <a:solidFill>
                <a:srgbClr val="358B3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Pt>
            <c:idx val="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DB9E-4B55-B0E8-F2181277C03B}"/>
              </c:ext>
            </c:extLst>
          </c:dPt>
          <c:dPt>
            <c:idx val="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1-DB9E-4B55-B0E8-F2181277C03B}"/>
              </c:ext>
            </c:extLst>
          </c:dPt>
          <c:dPt>
            <c:idx val="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DB9E-4B55-B0E8-F2181277C03B}"/>
              </c:ext>
            </c:extLst>
          </c:dPt>
          <c:dPt>
            <c:idx val="3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3-DB9E-4B55-B0E8-F2181277C03B}"/>
              </c:ext>
            </c:extLst>
          </c:dPt>
          <c:cat>
            <c:numRef>
              <c:f>'CPI-12'!$A$171:$A$275</c:f>
              <c:numCache>
                <c:formatCode>General</c:formatCode>
                <c:ptCount val="105"/>
                <c:pt idx="0">
                  <c:v>2015</c:v>
                </c:pt>
                <c:pt idx="12">
                  <c:v>2016</c:v>
                </c:pt>
                <c:pt idx="24">
                  <c:v>2017</c:v>
                </c:pt>
                <c:pt idx="36">
                  <c:v>2018</c:v>
                </c:pt>
                <c:pt idx="48">
                  <c:v>2019</c:v>
                </c:pt>
                <c:pt idx="60">
                  <c:v>2020</c:v>
                </c:pt>
                <c:pt idx="72">
                  <c:v>2021</c:v>
                </c:pt>
                <c:pt idx="73" formatCode="d\-mmm">
                  <c:v>42786</c:v>
                </c:pt>
                <c:pt idx="74" formatCode="d\-mmm">
                  <c:v>42814</c:v>
                </c:pt>
                <c:pt idx="75" formatCode="d\-mmm">
                  <c:v>42845</c:v>
                </c:pt>
                <c:pt idx="76" formatCode="d\-mmm">
                  <c:v>42875</c:v>
                </c:pt>
                <c:pt idx="77" formatCode="d\-mmm">
                  <c:v>42906</c:v>
                </c:pt>
                <c:pt idx="78" formatCode="d\-mmm">
                  <c:v>42936</c:v>
                </c:pt>
                <c:pt idx="79" formatCode="d\-mmm">
                  <c:v>42967</c:v>
                </c:pt>
                <c:pt idx="80" formatCode="d\-mmm">
                  <c:v>42998</c:v>
                </c:pt>
                <c:pt idx="81" formatCode="d\-mmm">
                  <c:v>43028</c:v>
                </c:pt>
                <c:pt idx="82" formatCode="d\-mmm">
                  <c:v>43059</c:v>
                </c:pt>
                <c:pt idx="83" formatCode="d\-mmm">
                  <c:v>43089</c:v>
                </c:pt>
                <c:pt idx="84">
                  <c:v>2022</c:v>
                </c:pt>
                <c:pt idx="85" formatCode="d\-mmm">
                  <c:v>43152</c:v>
                </c:pt>
                <c:pt idx="86" formatCode="d\-mmm">
                  <c:v>43180</c:v>
                </c:pt>
                <c:pt idx="87" formatCode="d\-mmm">
                  <c:v>43211</c:v>
                </c:pt>
                <c:pt idx="88" formatCode="d\-mmm">
                  <c:v>43241</c:v>
                </c:pt>
                <c:pt idx="89" formatCode="d\-mmm">
                  <c:v>43272</c:v>
                </c:pt>
                <c:pt idx="90" formatCode="d\-mmm">
                  <c:v>43302</c:v>
                </c:pt>
                <c:pt idx="91" formatCode="d\-mmm">
                  <c:v>43333</c:v>
                </c:pt>
                <c:pt idx="92" formatCode="d\-mmm">
                  <c:v>43364</c:v>
                </c:pt>
                <c:pt idx="93" formatCode="d\-mmm">
                  <c:v>43394</c:v>
                </c:pt>
                <c:pt idx="94" formatCode="d\-mmm">
                  <c:v>43425</c:v>
                </c:pt>
                <c:pt idx="95" formatCode="d\-mmm">
                  <c:v>43820</c:v>
                </c:pt>
                <c:pt idx="96">
                  <c:v>2023</c:v>
                </c:pt>
                <c:pt idx="97" formatCode="d\-mmm">
                  <c:v>43518</c:v>
                </c:pt>
                <c:pt idx="98" formatCode="d\-mmm">
                  <c:v>43546</c:v>
                </c:pt>
                <c:pt idx="99" formatCode="d\-mmm">
                  <c:v>43577</c:v>
                </c:pt>
                <c:pt idx="100" formatCode="d\-mmm">
                  <c:v>43607</c:v>
                </c:pt>
                <c:pt idx="101" formatCode="d\-mmm">
                  <c:v>43638</c:v>
                </c:pt>
                <c:pt idx="102" formatCode="d\-mmm">
                  <c:v>43668</c:v>
                </c:pt>
                <c:pt idx="103" formatCode="d\-mmm">
                  <c:v>43699</c:v>
                </c:pt>
              </c:numCache>
            </c:numRef>
          </c:cat>
          <c:val>
            <c:numRef>
              <c:f>'CPI-12'!$B$171:$B$275</c:f>
              <c:numCache>
                <c:formatCode>0.0%</c:formatCode>
                <c:ptCount val="105"/>
                <c:pt idx="0">
                  <c:v>-8.9349999999999998E-4</c:v>
                </c:pt>
                <c:pt idx="1">
                  <c:v>-2.5129999999999998E-4</c:v>
                </c:pt>
                <c:pt idx="2">
                  <c:v>-7.3640000000000001E-4</c:v>
                </c:pt>
                <c:pt idx="3">
                  <c:v>-1.9951999999999999E-3</c:v>
                </c:pt>
                <c:pt idx="4">
                  <c:v>-3.993E-4</c:v>
                </c:pt>
                <c:pt idx="5">
                  <c:v>1.2377E-3</c:v>
                </c:pt>
                <c:pt idx="6">
                  <c:v>1.6957000000000001E-3</c:v>
                </c:pt>
                <c:pt idx="7">
                  <c:v>1.9507999999999999E-3</c:v>
                </c:pt>
                <c:pt idx="8">
                  <c:v>-3.613E-4</c:v>
                </c:pt>
                <c:pt idx="9">
                  <c:v>1.7057000000000001E-3</c:v>
                </c:pt>
                <c:pt idx="10">
                  <c:v>5.0179999999999999E-3</c:v>
                </c:pt>
                <c:pt idx="11">
                  <c:v>7.2951999999999991E-3</c:v>
                </c:pt>
                <c:pt idx="12">
                  <c:v>1.3730899999999999E-2</c:v>
                </c:pt>
                <c:pt idx="13">
                  <c:v>1.0178E-2</c:v>
                </c:pt>
                <c:pt idx="14">
                  <c:v>8.525399999999999E-3</c:v>
                </c:pt>
                <c:pt idx="15">
                  <c:v>1.12511E-2</c:v>
                </c:pt>
                <c:pt idx="16">
                  <c:v>1.0193199999999999E-2</c:v>
                </c:pt>
                <c:pt idx="17">
                  <c:v>9.9733000000000009E-3</c:v>
                </c:pt>
                <c:pt idx="18">
                  <c:v>8.2713999999999999E-3</c:v>
                </c:pt>
                <c:pt idx="19">
                  <c:v>1.06287E-2</c:v>
                </c:pt>
                <c:pt idx="20">
                  <c:v>1.4637800000000001E-2</c:v>
                </c:pt>
                <c:pt idx="21">
                  <c:v>1.63599E-2</c:v>
                </c:pt>
                <c:pt idx="22">
                  <c:v>1.69254E-2</c:v>
                </c:pt>
                <c:pt idx="23">
                  <c:v>2.0746199999999999E-2</c:v>
                </c:pt>
                <c:pt idx="24">
                  <c:v>2.5000399999999999E-2</c:v>
                </c:pt>
                <c:pt idx="25">
                  <c:v>2.73796E-2</c:v>
                </c:pt>
                <c:pt idx="26">
                  <c:v>2.38061E-2</c:v>
                </c:pt>
                <c:pt idx="27">
                  <c:v>2.19969E-2</c:v>
                </c:pt>
                <c:pt idx="28">
                  <c:v>1.8748799999999999E-2</c:v>
                </c:pt>
                <c:pt idx="29">
                  <c:v>1.6334899999999999E-2</c:v>
                </c:pt>
                <c:pt idx="30">
                  <c:v>1.7279800000000001E-2</c:v>
                </c:pt>
                <c:pt idx="31">
                  <c:v>1.9389699999999999E-2</c:v>
                </c:pt>
                <c:pt idx="32">
                  <c:v>2.2329599999999998E-2</c:v>
                </c:pt>
                <c:pt idx="33">
                  <c:v>2.04113E-2</c:v>
                </c:pt>
                <c:pt idx="34">
                  <c:v>2.2025800000000002E-2</c:v>
                </c:pt>
                <c:pt idx="35">
                  <c:v>2.10908E-2</c:v>
                </c:pt>
                <c:pt idx="36">
                  <c:v>2.0705100000000001E-2</c:v>
                </c:pt>
                <c:pt idx="37">
                  <c:v>2.2118000000000002E-2</c:v>
                </c:pt>
                <c:pt idx="38">
                  <c:v>2.3597100000000003E-2</c:v>
                </c:pt>
                <c:pt idx="39">
                  <c:v>2.4627400000000001E-2</c:v>
                </c:pt>
                <c:pt idx="40">
                  <c:v>2.8010100000000003E-2</c:v>
                </c:pt>
                <c:pt idx="41">
                  <c:v>2.8715500000000001E-2</c:v>
                </c:pt>
                <c:pt idx="42">
                  <c:v>2.9495200000000003E-2</c:v>
                </c:pt>
                <c:pt idx="43">
                  <c:v>2.69918E-2</c:v>
                </c:pt>
                <c:pt idx="44">
                  <c:v>2.27697E-2</c:v>
                </c:pt>
                <c:pt idx="45">
                  <c:v>2.5224700000000003E-2</c:v>
                </c:pt>
                <c:pt idx="46">
                  <c:v>2.1766000000000001E-2</c:v>
                </c:pt>
                <c:pt idx="47">
                  <c:v>1.91016E-2</c:v>
                </c:pt>
                <c:pt idx="48">
                  <c:v>1.5512399999999999E-2</c:v>
                </c:pt>
                <c:pt idx="49">
                  <c:v>1.52014E-2</c:v>
                </c:pt>
                <c:pt idx="50">
                  <c:v>1.8625199999999998E-2</c:v>
                </c:pt>
                <c:pt idx="51">
                  <c:v>1.99644E-2</c:v>
                </c:pt>
                <c:pt idx="52">
                  <c:v>1.7902299999999999E-2</c:v>
                </c:pt>
                <c:pt idx="53">
                  <c:v>1.6484800000000001E-2</c:v>
                </c:pt>
                <c:pt idx="54">
                  <c:v>1.8114600000000002E-2</c:v>
                </c:pt>
                <c:pt idx="55">
                  <c:v>1.7497799999999997E-2</c:v>
                </c:pt>
                <c:pt idx="56">
                  <c:v>1.7113E-2</c:v>
                </c:pt>
                <c:pt idx="57">
                  <c:v>1.7640400000000001E-2</c:v>
                </c:pt>
                <c:pt idx="58">
                  <c:v>2.0512800000000001E-2</c:v>
                </c:pt>
                <c:pt idx="59">
                  <c:v>2.2851300000000001E-2</c:v>
                </c:pt>
                <c:pt idx="60">
                  <c:v>2.4865700000000001E-2</c:v>
                </c:pt>
                <c:pt idx="61">
                  <c:v>2.33487E-2</c:v>
                </c:pt>
                <c:pt idx="62">
                  <c:v>1.53933E-2</c:v>
                </c:pt>
                <c:pt idx="63">
                  <c:v>3.2910000000000001E-3</c:v>
                </c:pt>
                <c:pt idx="64">
                  <c:v>1.1792999999999999E-3</c:v>
                </c:pt>
                <c:pt idx="65">
                  <c:v>6.4573E-3</c:v>
                </c:pt>
                <c:pt idx="66">
                  <c:v>9.8607999999999994E-3</c:v>
                </c:pt>
                <c:pt idx="67">
                  <c:v>1.3096500000000001E-2</c:v>
                </c:pt>
                <c:pt idx="68">
                  <c:v>1.3713200000000002E-2</c:v>
                </c:pt>
                <c:pt idx="69">
                  <c:v>1.18207E-2</c:v>
                </c:pt>
                <c:pt idx="70">
                  <c:v>1.17454E-2</c:v>
                </c:pt>
                <c:pt idx="71">
                  <c:v>1.36201E-2</c:v>
                </c:pt>
                <c:pt idx="72">
                  <c:v>1.39977E-2</c:v>
                </c:pt>
                <c:pt idx="73">
                  <c:v>1.6762200000000001E-2</c:v>
                </c:pt>
                <c:pt idx="74">
                  <c:v>2.6197599999999998E-2</c:v>
                </c:pt>
                <c:pt idx="75">
                  <c:v>4.1596900000000006E-2</c:v>
                </c:pt>
                <c:pt idx="76">
                  <c:v>4.9927099999999995E-2</c:v>
                </c:pt>
                <c:pt idx="77">
                  <c:v>5.3914499999999997E-2</c:v>
                </c:pt>
                <c:pt idx="78">
                  <c:v>5.3654799999999996E-2</c:v>
                </c:pt>
                <c:pt idx="79">
                  <c:v>5.2512699999999995E-2</c:v>
                </c:pt>
                <c:pt idx="80">
                  <c:v>5.39035E-2</c:v>
                </c:pt>
                <c:pt idx="81">
                  <c:v>6.2218700000000002E-2</c:v>
                </c:pt>
                <c:pt idx="82">
                  <c:v>6.8089999999999998E-2</c:v>
                </c:pt>
                <c:pt idx="83">
                  <c:v>7.036400000000001E-2</c:v>
                </c:pt>
                <c:pt idx="84">
                  <c:v>7.4798699999999996E-2</c:v>
                </c:pt>
                <c:pt idx="85">
                  <c:v>7.8710600000000006E-2</c:v>
                </c:pt>
                <c:pt idx="86">
                  <c:v>8.5424600000000003E-2</c:v>
                </c:pt>
                <c:pt idx="87">
                  <c:v>8.2586300000000001E-2</c:v>
                </c:pt>
                <c:pt idx="88">
                  <c:v>8.5815099999999991E-2</c:v>
                </c:pt>
                <c:pt idx="89">
                  <c:v>9.05976E-2</c:v>
                </c:pt>
                <c:pt idx="90">
                  <c:v>8.5248100000000007E-2</c:v>
                </c:pt>
                <c:pt idx="91">
                  <c:v>8.2626899999999989E-2</c:v>
                </c:pt>
                <c:pt idx="92">
                  <c:v>8.2016699999999998E-2</c:v>
                </c:pt>
                <c:pt idx="93">
                  <c:v>7.7454300000000004E-2</c:v>
                </c:pt>
                <c:pt idx="94">
                  <c:v>7.1103199999999991E-2</c:v>
                </c:pt>
                <c:pt idx="95">
                  <c:v>6.454399999999999E-2</c:v>
                </c:pt>
                <c:pt idx="96">
                  <c:v>6.4101499999999992E-2</c:v>
                </c:pt>
                <c:pt idx="97">
                  <c:v>6.0356100000000003E-2</c:v>
                </c:pt>
                <c:pt idx="98">
                  <c:v>4.9849699999999997E-2</c:v>
                </c:pt>
                <c:pt idx="99">
                  <c:v>4.9303199999999998E-2</c:v>
                </c:pt>
                <c:pt idx="100">
                  <c:v>4.0476099999999994E-2</c:v>
                </c:pt>
                <c:pt idx="101">
                  <c:v>2.9691800000000001E-2</c:v>
                </c:pt>
                <c:pt idx="102">
                  <c:v>3.1777799999999995E-2</c:v>
                </c:pt>
                <c:pt idx="103">
                  <c:v>3.6651099999999999E-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DB9E-4B55-B0E8-F2181277C03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738968888"/>
        <c:axId val="738967904"/>
      </c:lineChart>
      <c:catAx>
        <c:axId val="738968888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8967904"/>
        <c:crosses val="autoZero"/>
        <c:auto val="1"/>
        <c:lblAlgn val="ctr"/>
        <c:lblOffset val="100"/>
        <c:tickLblSkip val="12"/>
        <c:tickMarkSkip val="12"/>
        <c:noMultiLvlLbl val="0"/>
      </c:catAx>
      <c:valAx>
        <c:axId val="738967904"/>
        <c:scaling>
          <c:orientation val="minMax"/>
          <c:max val="0.1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38968888"/>
        <c:crosses val="autoZero"/>
        <c:crossBetween val="between"/>
        <c:majorUnit val="2.0000000000000004E-2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u="none" baseline="0" dirty="0">
                <a:solidFill>
                  <a:schemeClr val="tx1"/>
                </a:solidFill>
              </a:rPr>
              <a:t>Flatbed spot loads</a:t>
            </a:r>
          </a:p>
          <a:p>
            <a:pPr algn="l">
              <a:defRPr/>
            </a:pPr>
            <a:r>
              <a:rPr lang="en-US" sz="1200" baseline="0" dirty="0">
                <a:solidFill>
                  <a:schemeClr val="tx1"/>
                </a:solidFill>
              </a:rPr>
              <a:t>Weekly index, 100 = 2014 average</a:t>
            </a:r>
            <a:endParaRPr lang="en-US" sz="12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6.80424321959755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5544381579168278E-2"/>
          <c:y val="0.1164516622922135"/>
          <c:w val="0.94300831799010199"/>
          <c:h val="0.7335382764654417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latbed_LA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val>
            <c:numRef>
              <c:f>Flatbed_LA!$B$2:$B$53</c:f>
              <c:numCache>
                <c:formatCode>General</c:formatCode>
                <c:ptCount val="52"/>
                <c:pt idx="0">
                  <c:v>92.650098019489519</c:v>
                </c:pt>
                <c:pt idx="1">
                  <c:v>109.07975063050679</c:v>
                </c:pt>
                <c:pt idx="2">
                  <c:v>110.23082543460289</c:v>
                </c:pt>
                <c:pt idx="3">
                  <c:v>113.30652342248548</c:v>
                </c:pt>
                <c:pt idx="4">
                  <c:v>113.73228329016311</c:v>
                </c:pt>
                <c:pt idx="5">
                  <c:v>121.25180456474757</c:v>
                </c:pt>
                <c:pt idx="6">
                  <c:v>118.92318096137606</c:v>
                </c:pt>
                <c:pt idx="7">
                  <c:v>111.73893651615103</c:v>
                </c:pt>
                <c:pt idx="8">
                  <c:v>142.1537490737212</c:v>
                </c:pt>
                <c:pt idx="9">
                  <c:v>140.23347777955328</c:v>
                </c:pt>
                <c:pt idx="10">
                  <c:v>141.95102354899223</c:v>
                </c:pt>
                <c:pt idx="11">
                  <c:v>139.26917157158491</c:v>
                </c:pt>
                <c:pt idx="12">
                  <c:v>132.97470722461125</c:v>
                </c:pt>
                <c:pt idx="13">
                  <c:v>119.26861219984535</c:v>
                </c:pt>
                <c:pt idx="14">
                  <c:v>120.28387178209712</c:v>
                </c:pt>
                <c:pt idx="15">
                  <c:v>132.92447916526424</c:v>
                </c:pt>
                <c:pt idx="16">
                  <c:v>137.67837458728505</c:v>
                </c:pt>
                <c:pt idx="17">
                  <c:v>127.04815887913583</c:v>
                </c:pt>
                <c:pt idx="18">
                  <c:v>127.33846618243729</c:v>
                </c:pt>
                <c:pt idx="19">
                  <c:v>149.6232236176927</c:v>
                </c:pt>
                <c:pt idx="20">
                  <c:v>137.96541797337264</c:v>
                </c:pt>
                <c:pt idx="21">
                  <c:v>119.35184208879932</c:v>
                </c:pt>
                <c:pt idx="22">
                  <c:v>133.91471538220952</c:v>
                </c:pt>
                <c:pt idx="23">
                  <c:v>128.32779575571206</c:v>
                </c:pt>
                <c:pt idx="24">
                  <c:v>110.67308621708401</c:v>
                </c:pt>
                <c:pt idx="25">
                  <c:v>98.207279733593737</c:v>
                </c:pt>
                <c:pt idx="26">
                  <c:v>67.227265511819496</c:v>
                </c:pt>
                <c:pt idx="27">
                  <c:v>97.883789271951088</c:v>
                </c:pt>
                <c:pt idx="28">
                  <c:v>85.425961252761411</c:v>
                </c:pt>
                <c:pt idx="29">
                  <c:v>80.498171574734286</c:v>
                </c:pt>
                <c:pt idx="30">
                  <c:v>82.670127151839409</c:v>
                </c:pt>
                <c:pt idx="31">
                  <c:v>76.939957825399347</c:v>
                </c:pt>
                <c:pt idx="32">
                  <c:v>75.175629242561385</c:v>
                </c:pt>
                <c:pt idx="33">
                  <c:v>86.546028843325658</c:v>
                </c:pt>
                <c:pt idx="34">
                  <c:v>84.450050005810368</c:v>
                </c:pt>
                <c:pt idx="35">
                  <c:v>75.170370709272348</c:v>
                </c:pt>
                <c:pt idx="36">
                  <c:v>95.139378881277665</c:v>
                </c:pt>
                <c:pt idx="37">
                  <c:v>90.689934403818512</c:v>
                </c:pt>
                <c:pt idx="38">
                  <c:v>97.268178219665913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D14-4735-8D71-1475FB5E92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83353840"/>
        <c:axId val="483357776"/>
      </c:barChart>
      <c:lineChart>
        <c:grouping val="standard"/>
        <c:varyColors val="0"/>
        <c:ser>
          <c:idx val="1"/>
          <c:order val="1"/>
          <c:tx>
            <c:strRef>
              <c:f>Flatbed_LA!$C$1</c:f>
              <c:strCache>
                <c:ptCount val="1"/>
                <c:pt idx="0">
                  <c:v>2022</c:v>
                </c:pt>
              </c:strCache>
            </c:strRef>
          </c:tx>
          <c:spPr>
            <a:ln w="31750" cap="rnd">
              <a:solidFill>
                <a:schemeClr val="accent2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Flatbed_LA!$C$2:$C$53</c:f>
              <c:numCache>
                <c:formatCode>General</c:formatCode>
                <c:ptCount val="52"/>
                <c:pt idx="0">
                  <c:v>222.30423540000001</c:v>
                </c:pt>
                <c:pt idx="1">
                  <c:v>270.71700909999998</c:v>
                </c:pt>
                <c:pt idx="2">
                  <c:v>280.58451209999998</c:v>
                </c:pt>
                <c:pt idx="3">
                  <c:v>302.2646211</c:v>
                </c:pt>
                <c:pt idx="4">
                  <c:v>262.83124620000001</c:v>
                </c:pt>
                <c:pt idx="5">
                  <c:v>274.51630710000001</c:v>
                </c:pt>
                <c:pt idx="6">
                  <c:v>294.43100129999999</c:v>
                </c:pt>
                <c:pt idx="7">
                  <c:v>330.69033880000001</c:v>
                </c:pt>
                <c:pt idx="8">
                  <c:v>344.14461510000001</c:v>
                </c:pt>
                <c:pt idx="9">
                  <c:v>350.59697599999998</c:v>
                </c:pt>
                <c:pt idx="10">
                  <c:v>340.04142789999997</c:v>
                </c:pt>
                <c:pt idx="11">
                  <c:v>319.10880400000002</c:v>
                </c:pt>
                <c:pt idx="12">
                  <c:v>316.89584059999999</c:v>
                </c:pt>
                <c:pt idx="13">
                  <c:v>292.07407449999999</c:v>
                </c:pt>
                <c:pt idx="14">
                  <c:v>258.89786609999999</c:v>
                </c:pt>
                <c:pt idx="15">
                  <c:v>289.9387936</c:v>
                </c:pt>
                <c:pt idx="16">
                  <c:v>302.52031970000002</c:v>
                </c:pt>
                <c:pt idx="17">
                  <c:v>298.70566769999999</c:v>
                </c:pt>
                <c:pt idx="18">
                  <c:v>285.40630040000002</c:v>
                </c:pt>
                <c:pt idx="19">
                  <c:v>297.5495512</c:v>
                </c:pt>
                <c:pt idx="20">
                  <c:v>284.11382149999997</c:v>
                </c:pt>
                <c:pt idx="21">
                  <c:v>218.61804069999999</c:v>
                </c:pt>
                <c:pt idx="22">
                  <c:v>250.61624169999999</c:v>
                </c:pt>
                <c:pt idx="23">
                  <c:v>236.89319309999999</c:v>
                </c:pt>
                <c:pt idx="24">
                  <c:v>220.24025209999999</c:v>
                </c:pt>
                <c:pt idx="25">
                  <c:v>222.00764319999999</c:v>
                </c:pt>
                <c:pt idx="26">
                  <c:v>159.3964526</c:v>
                </c:pt>
                <c:pt idx="27">
                  <c:v>198.35582740000001</c:v>
                </c:pt>
                <c:pt idx="28">
                  <c:v>159.45285229999999</c:v>
                </c:pt>
                <c:pt idx="29">
                  <c:v>150.50233729999999</c:v>
                </c:pt>
                <c:pt idx="30">
                  <c:v>130.2337392</c:v>
                </c:pt>
                <c:pt idx="31">
                  <c:v>118.27002469999999</c:v>
                </c:pt>
                <c:pt idx="32">
                  <c:v>125.9542082</c:v>
                </c:pt>
                <c:pt idx="33">
                  <c:v>121.23199339999999</c:v>
                </c:pt>
                <c:pt idx="34">
                  <c:v>122.6360553</c:v>
                </c:pt>
                <c:pt idx="35">
                  <c:v>94.084160569999995</c:v>
                </c:pt>
                <c:pt idx="36">
                  <c:v>110.12658690000001</c:v>
                </c:pt>
                <c:pt idx="37">
                  <c:v>98.338152089999994</c:v>
                </c:pt>
                <c:pt idx="38">
                  <c:v>96.928161340000003</c:v>
                </c:pt>
                <c:pt idx="39">
                  <c:v>109.87377669999999</c:v>
                </c:pt>
                <c:pt idx="40">
                  <c:v>95.216865819999995</c:v>
                </c:pt>
                <c:pt idx="41">
                  <c:v>103.3423282</c:v>
                </c:pt>
                <c:pt idx="42">
                  <c:v>104.6157999</c:v>
                </c:pt>
                <c:pt idx="43">
                  <c:v>101.3469868</c:v>
                </c:pt>
                <c:pt idx="44">
                  <c:v>86.226527610000005</c:v>
                </c:pt>
                <c:pt idx="45">
                  <c:v>85.095580299999995</c:v>
                </c:pt>
                <c:pt idx="46">
                  <c:v>41.425999939999997</c:v>
                </c:pt>
                <c:pt idx="47">
                  <c:v>89.576575980000001</c:v>
                </c:pt>
                <c:pt idx="48">
                  <c:v>71.997480519999996</c:v>
                </c:pt>
                <c:pt idx="49">
                  <c:v>82.826251189999994</c:v>
                </c:pt>
                <c:pt idx="50">
                  <c:v>68.727035470000004</c:v>
                </c:pt>
                <c:pt idx="51">
                  <c:v>59.57646222999999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3D14-4735-8D71-1475FB5E9246}"/>
            </c:ext>
          </c:extLst>
        </c:ser>
        <c:ser>
          <c:idx val="2"/>
          <c:order val="2"/>
          <c:tx>
            <c:strRef>
              <c:f>Flatbed_LA!$D$1</c:f>
              <c:strCache>
                <c:ptCount val="1"/>
                <c:pt idx="0">
                  <c:v>2021</c:v>
                </c:pt>
              </c:strCache>
            </c:strRef>
          </c:tx>
          <c:spPr>
            <a:ln w="31750" cap="rnd">
              <a:solidFill>
                <a:srgbClr val="358B3B"/>
              </a:solidFill>
              <a:prstDash val="solid"/>
              <a:round/>
            </a:ln>
            <a:effectLst>
              <a:outerShdw blurRad="50800" dist="38100" dir="2700000" algn="tl" rotWithShape="0">
                <a:srgbClr val="00B050">
                  <a:alpha val="40000"/>
                </a:srgbClr>
              </a:outerShdw>
            </a:effectLst>
          </c:spPr>
          <c:marker>
            <c:symbol val="none"/>
          </c:marker>
          <c:val>
            <c:numRef>
              <c:f>Flatbed_LA!$D$2:$D$53</c:f>
              <c:numCache>
                <c:formatCode>General</c:formatCode>
                <c:ptCount val="52"/>
                <c:pt idx="0">
                  <c:v>198.29045859999999</c:v>
                </c:pt>
                <c:pt idx="1">
                  <c:v>207.43054309999999</c:v>
                </c:pt>
                <c:pt idx="2">
                  <c:v>212.31298770000001</c:v>
                </c:pt>
                <c:pt idx="3">
                  <c:v>233.70653799999999</c:v>
                </c:pt>
                <c:pt idx="4">
                  <c:v>232.91846340000001</c:v>
                </c:pt>
                <c:pt idx="5">
                  <c:v>230.77193299999999</c:v>
                </c:pt>
                <c:pt idx="6">
                  <c:v>223.05582509999999</c:v>
                </c:pt>
                <c:pt idx="7">
                  <c:v>293.9782841</c:v>
                </c:pt>
                <c:pt idx="8">
                  <c:v>295.46094069999998</c:v>
                </c:pt>
                <c:pt idx="9">
                  <c:v>311.14110199999999</c:v>
                </c:pt>
                <c:pt idx="10">
                  <c:v>341.31612039999999</c:v>
                </c:pt>
                <c:pt idx="11">
                  <c:v>359.9272383</c:v>
                </c:pt>
                <c:pt idx="12">
                  <c:v>346.2449312</c:v>
                </c:pt>
                <c:pt idx="13">
                  <c:v>376.4517219</c:v>
                </c:pt>
                <c:pt idx="14">
                  <c:v>408.98913979999998</c:v>
                </c:pt>
                <c:pt idx="15">
                  <c:v>411.71517260000002</c:v>
                </c:pt>
                <c:pt idx="16">
                  <c:v>419.08269739999997</c:v>
                </c:pt>
                <c:pt idx="17">
                  <c:v>432.44439310000001</c:v>
                </c:pt>
                <c:pt idx="18">
                  <c:v>434.0284474</c:v>
                </c:pt>
                <c:pt idx="19">
                  <c:v>397.47586219999999</c:v>
                </c:pt>
                <c:pt idx="20">
                  <c:v>362.65509530000003</c:v>
                </c:pt>
                <c:pt idx="21">
                  <c:v>309.84847120000001</c:v>
                </c:pt>
                <c:pt idx="22">
                  <c:v>353.23970150000002</c:v>
                </c:pt>
                <c:pt idx="23">
                  <c:v>341.57166699999999</c:v>
                </c:pt>
                <c:pt idx="24">
                  <c:v>321.82313119999998</c:v>
                </c:pt>
                <c:pt idx="25">
                  <c:v>271.52226200000001</c:v>
                </c:pt>
                <c:pt idx="26">
                  <c:v>222.07210000000001</c:v>
                </c:pt>
                <c:pt idx="27">
                  <c:v>230.13572690000001</c:v>
                </c:pt>
                <c:pt idx="28">
                  <c:v>256.13245999999998</c:v>
                </c:pt>
                <c:pt idx="29">
                  <c:v>253.7553144</c:v>
                </c:pt>
                <c:pt idx="30">
                  <c:v>237.4207045</c:v>
                </c:pt>
                <c:pt idx="31">
                  <c:v>223.60674760000001</c:v>
                </c:pt>
                <c:pt idx="32">
                  <c:v>231.45937000000001</c:v>
                </c:pt>
                <c:pt idx="33">
                  <c:v>230.28531509999999</c:v>
                </c:pt>
                <c:pt idx="34">
                  <c:v>209.7293981</c:v>
                </c:pt>
                <c:pt idx="35">
                  <c:v>180.6226283</c:v>
                </c:pt>
                <c:pt idx="36">
                  <c:v>234.35961829999999</c:v>
                </c:pt>
                <c:pt idx="37">
                  <c:v>249.59648770000001</c:v>
                </c:pt>
                <c:pt idx="38">
                  <c:v>247.4944993</c:v>
                </c:pt>
                <c:pt idx="39">
                  <c:v>227.45742849999999</c:v>
                </c:pt>
                <c:pt idx="40">
                  <c:v>222.56981529999999</c:v>
                </c:pt>
                <c:pt idx="41">
                  <c:v>216.40370909999999</c:v>
                </c:pt>
                <c:pt idx="42">
                  <c:v>217.7954574</c:v>
                </c:pt>
                <c:pt idx="43">
                  <c:v>206.5120349</c:v>
                </c:pt>
                <c:pt idx="44">
                  <c:v>191.03542899999999</c:v>
                </c:pt>
                <c:pt idx="45">
                  <c:v>185.6215206</c:v>
                </c:pt>
                <c:pt idx="46">
                  <c:v>95.760339340000002</c:v>
                </c:pt>
                <c:pt idx="47">
                  <c:v>198.9604132</c:v>
                </c:pt>
                <c:pt idx="48">
                  <c:v>204.76987919999999</c:v>
                </c:pt>
                <c:pt idx="49">
                  <c:v>205.15798770000001</c:v>
                </c:pt>
                <c:pt idx="50">
                  <c:v>141.2356197</c:v>
                </c:pt>
                <c:pt idx="51">
                  <c:v>136.5077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3D14-4735-8D71-1475FB5E9246}"/>
            </c:ext>
          </c:extLst>
        </c:ser>
        <c:ser>
          <c:idx val="3"/>
          <c:order val="3"/>
          <c:tx>
            <c:strRef>
              <c:f>Flatbed_LA!$E$1</c:f>
              <c:strCache>
                <c:ptCount val="1"/>
                <c:pt idx="0">
                  <c:v>5-Yr Avg</c:v>
                </c:pt>
              </c:strCache>
            </c:strRef>
          </c:tx>
          <c:spPr>
            <a:ln w="3175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Flatbed_LA!$E$2:$E$53</c:f>
              <c:numCache>
                <c:formatCode>General</c:formatCode>
                <c:ptCount val="52"/>
                <c:pt idx="0">
                  <c:v>135.61116272988946</c:v>
                </c:pt>
                <c:pt idx="1">
                  <c:v>147.63145934657234</c:v>
                </c:pt>
                <c:pt idx="2">
                  <c:v>149.22174649529737</c:v>
                </c:pt>
                <c:pt idx="3">
                  <c:v>156.8566450148451</c:v>
                </c:pt>
                <c:pt idx="4">
                  <c:v>152.23956757398975</c:v>
                </c:pt>
                <c:pt idx="5">
                  <c:v>159.13537250213398</c:v>
                </c:pt>
                <c:pt idx="6">
                  <c:v>165.99721603566729</c:v>
                </c:pt>
                <c:pt idx="7">
                  <c:v>188.7958316428354</c:v>
                </c:pt>
                <c:pt idx="8">
                  <c:v>193.97115900889372</c:v>
                </c:pt>
                <c:pt idx="9">
                  <c:v>204.4634665051039</c:v>
                </c:pt>
                <c:pt idx="10">
                  <c:v>206.90339660136971</c:v>
                </c:pt>
                <c:pt idx="11">
                  <c:v>199.84176763901945</c:v>
                </c:pt>
                <c:pt idx="12">
                  <c:v>197.14425389445995</c:v>
                </c:pt>
                <c:pt idx="13">
                  <c:v>193.35705672746849</c:v>
                </c:pt>
                <c:pt idx="14">
                  <c:v>188.85055904686382</c:v>
                </c:pt>
                <c:pt idx="15">
                  <c:v>191.29197894468376</c:v>
                </c:pt>
                <c:pt idx="16">
                  <c:v>197.57134047467488</c:v>
                </c:pt>
                <c:pt idx="17">
                  <c:v>201.0755057504995</c:v>
                </c:pt>
                <c:pt idx="18">
                  <c:v>201.68793580569059</c:v>
                </c:pt>
                <c:pt idx="19">
                  <c:v>196.81795694999735</c:v>
                </c:pt>
                <c:pt idx="20">
                  <c:v>184.72143722114825</c:v>
                </c:pt>
                <c:pt idx="21">
                  <c:v>169.58663444532286</c:v>
                </c:pt>
                <c:pt idx="22">
                  <c:v>195.34870857651509</c:v>
                </c:pt>
                <c:pt idx="23">
                  <c:v>189.11048381188533</c:v>
                </c:pt>
                <c:pt idx="24">
                  <c:v>181.24627746945862</c:v>
                </c:pt>
                <c:pt idx="25">
                  <c:v>162.94917326830597</c:v>
                </c:pt>
                <c:pt idx="26">
                  <c:v>134.54555936522993</c:v>
                </c:pt>
                <c:pt idx="27">
                  <c:v>153.04372596796028</c:v>
                </c:pt>
                <c:pt idx="28">
                  <c:v>145.5453115132367</c:v>
                </c:pt>
                <c:pt idx="29">
                  <c:v>141.74923634514727</c:v>
                </c:pt>
                <c:pt idx="30">
                  <c:v>134.63847433562481</c:v>
                </c:pt>
                <c:pt idx="31">
                  <c:v>130.27560568648133</c:v>
                </c:pt>
                <c:pt idx="32">
                  <c:v>135.84582167671786</c:v>
                </c:pt>
                <c:pt idx="33">
                  <c:v>133.46755112232398</c:v>
                </c:pt>
                <c:pt idx="34">
                  <c:v>129.57989876482705</c:v>
                </c:pt>
                <c:pt idx="35">
                  <c:v>111.25132630635804</c:v>
                </c:pt>
                <c:pt idx="36">
                  <c:v>140.02690413214705</c:v>
                </c:pt>
                <c:pt idx="37">
                  <c:v>140.99427180657557</c:v>
                </c:pt>
                <c:pt idx="38">
                  <c:v>142.42971080601365</c:v>
                </c:pt>
                <c:pt idx="39">
                  <c:v>136.55724752497363</c:v>
                </c:pt>
                <c:pt idx="40">
                  <c:v>130.30096271701447</c:v>
                </c:pt>
                <c:pt idx="41">
                  <c:v>127.91739445602208</c:v>
                </c:pt>
                <c:pt idx="42">
                  <c:v>127.1608783900675</c:v>
                </c:pt>
                <c:pt idx="43">
                  <c:v>121.62199566798557</c:v>
                </c:pt>
                <c:pt idx="44">
                  <c:v>110.7614260467769</c:v>
                </c:pt>
                <c:pt idx="45">
                  <c:v>107.74292281387278</c:v>
                </c:pt>
                <c:pt idx="46">
                  <c:v>64.417426072903154</c:v>
                </c:pt>
                <c:pt idx="47">
                  <c:v>109.65206538965032</c:v>
                </c:pt>
                <c:pt idx="48">
                  <c:v>118.37946587410757</c:v>
                </c:pt>
                <c:pt idx="49">
                  <c:v>121.41641947241165</c:v>
                </c:pt>
                <c:pt idx="50">
                  <c:v>83.68015507257779</c:v>
                </c:pt>
                <c:pt idx="51">
                  <c:v>81.50694307963075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3D14-4735-8D71-1475FB5E924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353840"/>
        <c:axId val="483357776"/>
      </c:lineChart>
      <c:catAx>
        <c:axId val="4833538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7776"/>
        <c:crosses val="autoZero"/>
        <c:auto val="1"/>
        <c:lblAlgn val="ctr"/>
        <c:lblOffset val="100"/>
        <c:tickLblSkip val="4"/>
        <c:noMultiLvlLbl val="0"/>
      </c:catAx>
      <c:valAx>
        <c:axId val="483357776"/>
        <c:scaling>
          <c:orientation val="minMax"/>
          <c:max val="45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3840"/>
        <c:crosses val="autoZero"/>
        <c:crossBetween val="between"/>
        <c:majorUnit val="50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7.5275408282298048E-2"/>
          <c:y val="0.76235804899387571"/>
          <c:w val="0.62227362204724412"/>
          <c:h val="7.9977690288713904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baseline="0" dirty="0">
                <a:solidFill>
                  <a:schemeClr val="tx1"/>
                </a:solidFill>
              </a:rPr>
              <a:t>Flatbed spot rates</a:t>
            </a:r>
          </a:p>
          <a:p>
            <a:pPr algn="l">
              <a:defRPr/>
            </a:pPr>
            <a:r>
              <a:rPr lang="en-US" sz="1200" baseline="0" dirty="0">
                <a:solidFill>
                  <a:schemeClr val="tx1"/>
                </a:solidFill>
              </a:rPr>
              <a:t>Weekly broker-posted rate per mile</a:t>
            </a:r>
            <a:endParaRPr lang="en-US" sz="1200" u="sng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9.0053404782735491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4966176102987129E-2"/>
          <c:y val="0.11176332220664996"/>
          <c:w val="0.94358650481189854"/>
          <c:h val="0.73626268591426058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Flatbed_Rates_Incl_Fuel!$B$1</c:f>
              <c:strCache>
                <c:ptCount val="1"/>
                <c:pt idx="0">
                  <c:v>2023</c:v>
                </c:pt>
              </c:strCache>
            </c:strRef>
          </c:tx>
          <c:spPr>
            <a:solidFill>
              <a:srgbClr val="358B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val>
            <c:numRef>
              <c:f>Flatbed_Rates_Incl_Fuel!$B$2:$B$53</c:f>
              <c:numCache>
                <c:formatCode>"$"#,##0.000000</c:formatCode>
                <c:ptCount val="52"/>
                <c:pt idx="0">
                  <c:v>2.5346077610402031</c:v>
                </c:pt>
                <c:pt idx="1">
                  <c:v>2.5621005786607576</c:v>
                </c:pt>
                <c:pt idx="2">
                  <c:v>2.5267359430432021</c:v>
                </c:pt>
                <c:pt idx="3">
                  <c:v>2.5140562270113005</c:v>
                </c:pt>
                <c:pt idx="4">
                  <c:v>2.5678935426804457</c:v>
                </c:pt>
                <c:pt idx="5">
                  <c:v>2.5646924576062355</c:v>
                </c:pt>
                <c:pt idx="6">
                  <c:v>2.5788599436655599</c:v>
                </c:pt>
                <c:pt idx="7">
                  <c:v>2.5987160840402885</c:v>
                </c:pt>
                <c:pt idx="8">
                  <c:v>2.6397810517850964</c:v>
                </c:pt>
                <c:pt idx="9">
                  <c:v>2.5629986020110813</c:v>
                </c:pt>
                <c:pt idx="10">
                  <c:v>2.5725199075600051</c:v>
                </c:pt>
                <c:pt idx="11">
                  <c:v>2.5744162896452067</c:v>
                </c:pt>
                <c:pt idx="12">
                  <c:v>2.6079093809220359</c:v>
                </c:pt>
                <c:pt idx="13">
                  <c:v>2.5986530091348752</c:v>
                </c:pt>
                <c:pt idx="14">
                  <c:v>2.6008254178458339</c:v>
                </c:pt>
                <c:pt idx="15">
                  <c:v>2.6329602226016564</c:v>
                </c:pt>
                <c:pt idx="16">
                  <c:v>2.6524509379255985</c:v>
                </c:pt>
                <c:pt idx="17">
                  <c:v>2.6087211145531963</c:v>
                </c:pt>
                <c:pt idx="18">
                  <c:v>2.5911592971167838</c:v>
                </c:pt>
                <c:pt idx="19">
                  <c:v>2.6309306724264281</c:v>
                </c:pt>
                <c:pt idx="20">
                  <c:v>2.6587372083153316</c:v>
                </c:pt>
                <c:pt idx="21">
                  <c:v>2.6552575132820544</c:v>
                </c:pt>
                <c:pt idx="22">
                  <c:v>2.6387592508404527</c:v>
                </c:pt>
                <c:pt idx="23">
                  <c:v>2.5854742954995378</c:v>
                </c:pt>
                <c:pt idx="24">
                  <c:v>2.5136083869115127</c:v>
                </c:pt>
                <c:pt idx="25">
                  <c:v>2.4780313177817286</c:v>
                </c:pt>
                <c:pt idx="26">
                  <c:v>2.5028332754413714</c:v>
                </c:pt>
                <c:pt idx="27">
                  <c:v>2.4570243392151219</c:v>
                </c:pt>
                <c:pt idx="28">
                  <c:v>2.3979351825456301</c:v>
                </c:pt>
                <c:pt idx="29">
                  <c:v>2.4048925422383132</c:v>
                </c:pt>
                <c:pt idx="30">
                  <c:v>2.3950641014686425</c:v>
                </c:pt>
                <c:pt idx="31">
                  <c:v>2.3626689376800627</c:v>
                </c:pt>
                <c:pt idx="32">
                  <c:v>2.3289347261934354</c:v>
                </c:pt>
                <c:pt idx="33">
                  <c:v>2.3002148523152308</c:v>
                </c:pt>
                <c:pt idx="34">
                  <c:v>2.3032250381221719</c:v>
                </c:pt>
                <c:pt idx="35">
                  <c:v>2.3520370681620224</c:v>
                </c:pt>
                <c:pt idx="36">
                  <c:v>2.3152923968956003</c:v>
                </c:pt>
                <c:pt idx="37">
                  <c:v>2.3299276233134858</c:v>
                </c:pt>
                <c:pt idx="38">
                  <c:v>2.3636054553326602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A9C-43CE-B427-15FF4606C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75"/>
        <c:axId val="483353840"/>
        <c:axId val="483357776"/>
      </c:barChart>
      <c:lineChart>
        <c:grouping val="standard"/>
        <c:varyColors val="0"/>
        <c:ser>
          <c:idx val="1"/>
          <c:order val="1"/>
          <c:tx>
            <c:strRef>
              <c:f>Flatbed_Rates_Incl_Fuel!$C$1</c:f>
              <c:strCache>
                <c:ptCount val="1"/>
                <c:pt idx="0">
                  <c:v>2022</c:v>
                </c:pt>
              </c:strCache>
            </c:strRef>
          </c:tx>
          <c:spPr>
            <a:ln w="31750" cap="rnd">
              <a:solidFill>
                <a:srgbClr val="00B0F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Flatbed_Rates_Incl_Fuel!$C$2:$C$53</c:f>
              <c:numCache>
                <c:formatCode>"$"#,##0.000000</c:formatCode>
                <c:ptCount val="52"/>
                <c:pt idx="0">
                  <c:v>2.8862999999999999</c:v>
                </c:pt>
                <c:pt idx="1">
                  <c:v>2.9460099999999998</c:v>
                </c:pt>
                <c:pt idx="2">
                  <c:v>2.9018730000000001</c:v>
                </c:pt>
                <c:pt idx="3">
                  <c:v>2.9331109999999998</c:v>
                </c:pt>
                <c:pt idx="4">
                  <c:v>2.9720399999999998</c:v>
                </c:pt>
                <c:pt idx="5">
                  <c:v>2.9912139999999998</c:v>
                </c:pt>
                <c:pt idx="6">
                  <c:v>3.0213549999999998</c:v>
                </c:pt>
                <c:pt idx="7">
                  <c:v>3.0446070000000001</c:v>
                </c:pt>
                <c:pt idx="8">
                  <c:v>3.072749</c:v>
                </c:pt>
                <c:pt idx="9">
                  <c:v>3.1558579999999998</c:v>
                </c:pt>
                <c:pt idx="10">
                  <c:v>3.2140360000000001</c:v>
                </c:pt>
                <c:pt idx="11">
                  <c:v>3.2836240000000001</c:v>
                </c:pt>
                <c:pt idx="12">
                  <c:v>3.3451469999999999</c:v>
                </c:pt>
                <c:pt idx="13">
                  <c:v>3.3578329999999998</c:v>
                </c:pt>
                <c:pt idx="14">
                  <c:v>3.356112</c:v>
                </c:pt>
                <c:pt idx="15">
                  <c:v>3.3615029999999999</c:v>
                </c:pt>
                <c:pt idx="16">
                  <c:v>3.3943319999999999</c:v>
                </c:pt>
                <c:pt idx="17">
                  <c:v>3.3798279999999998</c:v>
                </c:pt>
                <c:pt idx="18">
                  <c:v>3.3749739999999999</c:v>
                </c:pt>
                <c:pt idx="19">
                  <c:v>3.4919790000000002</c:v>
                </c:pt>
                <c:pt idx="20">
                  <c:v>3.5248360000000001</c:v>
                </c:pt>
                <c:pt idx="21">
                  <c:v>3.533312</c:v>
                </c:pt>
                <c:pt idx="22">
                  <c:v>3.519943</c:v>
                </c:pt>
                <c:pt idx="23">
                  <c:v>3.4350999999999998</c:v>
                </c:pt>
                <c:pt idx="24">
                  <c:v>3.4032360000000001</c:v>
                </c:pt>
                <c:pt idx="25">
                  <c:v>3.434361</c:v>
                </c:pt>
                <c:pt idx="26">
                  <c:v>3.3000210000000001</c:v>
                </c:pt>
                <c:pt idx="27">
                  <c:v>3.306003</c:v>
                </c:pt>
                <c:pt idx="28">
                  <c:v>3.1795079999999998</c:v>
                </c:pt>
                <c:pt idx="29">
                  <c:v>3.0611449999999998</c:v>
                </c:pt>
                <c:pt idx="30">
                  <c:v>2.9418630000000001</c:v>
                </c:pt>
                <c:pt idx="31">
                  <c:v>2.8652799999999998</c:v>
                </c:pt>
                <c:pt idx="32">
                  <c:v>2.7774640000000002</c:v>
                </c:pt>
                <c:pt idx="33">
                  <c:v>2.7380529999999998</c:v>
                </c:pt>
                <c:pt idx="34">
                  <c:v>2.7576580000000002</c:v>
                </c:pt>
                <c:pt idx="35">
                  <c:v>2.7563360000000001</c:v>
                </c:pt>
                <c:pt idx="36">
                  <c:v>2.69062</c:v>
                </c:pt>
                <c:pt idx="37">
                  <c:v>2.6864170000000001</c:v>
                </c:pt>
                <c:pt idx="38">
                  <c:v>2.7239909999999998</c:v>
                </c:pt>
                <c:pt idx="39">
                  <c:v>2.7170350000000001</c:v>
                </c:pt>
                <c:pt idx="40">
                  <c:v>2.7304710000000001</c:v>
                </c:pt>
                <c:pt idx="41">
                  <c:v>2.6759080000000002</c:v>
                </c:pt>
                <c:pt idx="42">
                  <c:v>2.6726290000000001</c:v>
                </c:pt>
                <c:pt idx="43">
                  <c:v>2.6185139999999998</c:v>
                </c:pt>
                <c:pt idx="44">
                  <c:v>2.5857770000000002</c:v>
                </c:pt>
                <c:pt idx="45">
                  <c:v>2.6251310000000001</c:v>
                </c:pt>
                <c:pt idx="46">
                  <c:v>2.6125780000000001</c:v>
                </c:pt>
                <c:pt idx="47">
                  <c:v>2.591453</c:v>
                </c:pt>
                <c:pt idx="48">
                  <c:v>2.5335079999999999</c:v>
                </c:pt>
                <c:pt idx="49">
                  <c:v>2.5518459999999998</c:v>
                </c:pt>
                <c:pt idx="50">
                  <c:v>2.6390959999999999</c:v>
                </c:pt>
                <c:pt idx="51">
                  <c:v>2.607422000000000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7A9C-43CE-B427-15FF4606C853}"/>
            </c:ext>
          </c:extLst>
        </c:ser>
        <c:ser>
          <c:idx val="2"/>
          <c:order val="2"/>
          <c:tx>
            <c:strRef>
              <c:f>Flatbed_Rates_Incl_Fuel!$D$1</c:f>
              <c:strCache>
                <c:ptCount val="1"/>
                <c:pt idx="0">
                  <c:v>2021</c:v>
                </c:pt>
              </c:strCache>
            </c:strRef>
          </c:tx>
          <c:spPr>
            <a:ln w="31750" cap="rnd">
              <a:solidFill>
                <a:srgbClr val="C00000"/>
              </a:solidFill>
              <a:prstDash val="solid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Flatbed_Rates_Incl_Fuel!$D$2:$D$53</c:f>
              <c:numCache>
                <c:formatCode>"$"#,##0.000000</c:formatCode>
                <c:ptCount val="52"/>
                <c:pt idx="0">
                  <c:v>2.4197669999999998</c:v>
                </c:pt>
                <c:pt idx="1">
                  <c:v>2.4340120000000001</c:v>
                </c:pt>
                <c:pt idx="2">
                  <c:v>2.4506019999999999</c:v>
                </c:pt>
                <c:pt idx="3">
                  <c:v>2.522348</c:v>
                </c:pt>
                <c:pt idx="4">
                  <c:v>2.5278619999999998</c:v>
                </c:pt>
                <c:pt idx="5">
                  <c:v>2.539685</c:v>
                </c:pt>
                <c:pt idx="6">
                  <c:v>2.553979</c:v>
                </c:pt>
                <c:pt idx="7">
                  <c:v>2.5909580000000001</c:v>
                </c:pt>
                <c:pt idx="8">
                  <c:v>2.6179139999999999</c:v>
                </c:pt>
                <c:pt idx="9">
                  <c:v>2.6637879999999998</c:v>
                </c:pt>
                <c:pt idx="10">
                  <c:v>2.703217</c:v>
                </c:pt>
                <c:pt idx="11">
                  <c:v>2.7682790000000002</c:v>
                </c:pt>
                <c:pt idx="12">
                  <c:v>2.8111540000000002</c:v>
                </c:pt>
                <c:pt idx="13">
                  <c:v>2.8636279999999998</c:v>
                </c:pt>
                <c:pt idx="14">
                  <c:v>2.9202119999999998</c:v>
                </c:pt>
                <c:pt idx="15">
                  <c:v>3.0060030000000002</c:v>
                </c:pt>
                <c:pt idx="16">
                  <c:v>3.0555819999999998</c:v>
                </c:pt>
                <c:pt idx="17">
                  <c:v>3.1223619999999999</c:v>
                </c:pt>
                <c:pt idx="18">
                  <c:v>3.1431429999999998</c:v>
                </c:pt>
                <c:pt idx="19">
                  <c:v>3.182979</c:v>
                </c:pt>
                <c:pt idx="20">
                  <c:v>3.2296079999999998</c:v>
                </c:pt>
                <c:pt idx="21">
                  <c:v>3.216726</c:v>
                </c:pt>
                <c:pt idx="22">
                  <c:v>3.2381250000000001</c:v>
                </c:pt>
                <c:pt idx="23">
                  <c:v>3.1860710000000001</c:v>
                </c:pt>
                <c:pt idx="24">
                  <c:v>3.1766990000000002</c:v>
                </c:pt>
                <c:pt idx="25">
                  <c:v>3.1856819999999999</c:v>
                </c:pt>
                <c:pt idx="26">
                  <c:v>3.1344319999999999</c:v>
                </c:pt>
                <c:pt idx="27">
                  <c:v>3.1214599999999999</c:v>
                </c:pt>
                <c:pt idx="28">
                  <c:v>3.038227</c:v>
                </c:pt>
                <c:pt idx="29">
                  <c:v>3.0181110000000002</c:v>
                </c:pt>
                <c:pt idx="30">
                  <c:v>3.0027529999999998</c:v>
                </c:pt>
                <c:pt idx="31">
                  <c:v>2.9442339999999998</c:v>
                </c:pt>
                <c:pt idx="32">
                  <c:v>2.9012560000000001</c:v>
                </c:pt>
                <c:pt idx="33">
                  <c:v>2.904061</c:v>
                </c:pt>
                <c:pt idx="34">
                  <c:v>2.9666380000000001</c:v>
                </c:pt>
                <c:pt idx="35">
                  <c:v>2.9231379999999998</c:v>
                </c:pt>
                <c:pt idx="36">
                  <c:v>2.8997679999999999</c:v>
                </c:pt>
                <c:pt idx="37">
                  <c:v>2.9057940000000002</c:v>
                </c:pt>
                <c:pt idx="38">
                  <c:v>2.912153</c:v>
                </c:pt>
                <c:pt idx="39">
                  <c:v>2.8994599999999999</c:v>
                </c:pt>
                <c:pt idx="40">
                  <c:v>2.9059409999999999</c:v>
                </c:pt>
                <c:pt idx="41">
                  <c:v>2.8255490000000001</c:v>
                </c:pt>
                <c:pt idx="42">
                  <c:v>2.869793</c:v>
                </c:pt>
                <c:pt idx="43">
                  <c:v>2.8580329999999998</c:v>
                </c:pt>
                <c:pt idx="44">
                  <c:v>2.7664070000000001</c:v>
                </c:pt>
                <c:pt idx="45">
                  <c:v>2.7876080000000001</c:v>
                </c:pt>
                <c:pt idx="46">
                  <c:v>2.7941419999999999</c:v>
                </c:pt>
                <c:pt idx="47">
                  <c:v>2.8181669999999999</c:v>
                </c:pt>
                <c:pt idx="48">
                  <c:v>2.8208479999999998</c:v>
                </c:pt>
                <c:pt idx="49">
                  <c:v>2.8394270000000001</c:v>
                </c:pt>
                <c:pt idx="50">
                  <c:v>2.847871</c:v>
                </c:pt>
                <c:pt idx="51">
                  <c:v>2.84724000000000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7A9C-43CE-B427-15FF4606C853}"/>
            </c:ext>
          </c:extLst>
        </c:ser>
        <c:ser>
          <c:idx val="3"/>
          <c:order val="3"/>
          <c:tx>
            <c:strRef>
              <c:f>Flatbed_Rates_Incl_Fuel!$E$1</c:f>
              <c:strCache>
                <c:ptCount val="1"/>
                <c:pt idx="0">
                  <c:v>5-Yr Avg</c:v>
                </c:pt>
              </c:strCache>
            </c:strRef>
          </c:tx>
          <c:spPr>
            <a:ln w="3175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val>
            <c:numRef>
              <c:f>Flatbed_Rates_Incl_Fuel!$E$2:$E$53</c:f>
              <c:numCache>
                <c:formatCode>"$"#,##0.000000</c:formatCode>
                <c:ptCount val="52"/>
                <c:pt idx="0">
                  <c:v>2.3325024210506129</c:v>
                </c:pt>
                <c:pt idx="1">
                  <c:v>2.3284354413018424</c:v>
                </c:pt>
                <c:pt idx="2">
                  <c:v>2.3107229391620763</c:v>
                </c:pt>
                <c:pt idx="3">
                  <c:v>2.3271410631604055</c:v>
                </c:pt>
                <c:pt idx="4">
                  <c:v>2.337187559157845</c:v>
                </c:pt>
                <c:pt idx="5">
                  <c:v>2.3374766710294779</c:v>
                </c:pt>
                <c:pt idx="6">
                  <c:v>2.3568626680262028</c:v>
                </c:pt>
                <c:pt idx="7">
                  <c:v>2.3718864231214507</c:v>
                </c:pt>
                <c:pt idx="8">
                  <c:v>2.4076031991767546</c:v>
                </c:pt>
                <c:pt idx="9">
                  <c:v>2.4419186608979024</c:v>
                </c:pt>
                <c:pt idx="10">
                  <c:v>2.4628956473991375</c:v>
                </c:pt>
                <c:pt idx="11">
                  <c:v>2.4938771766982297</c:v>
                </c:pt>
                <c:pt idx="12">
                  <c:v>2.5150191409793048</c:v>
                </c:pt>
                <c:pt idx="13">
                  <c:v>2.5039928190345271</c:v>
                </c:pt>
                <c:pt idx="14">
                  <c:v>2.4782286042882973</c:v>
                </c:pt>
                <c:pt idx="15">
                  <c:v>2.467852099189662</c:v>
                </c:pt>
                <c:pt idx="16">
                  <c:v>2.4801542556111738</c:v>
                </c:pt>
                <c:pt idx="17">
                  <c:v>2.5090984642072565</c:v>
                </c:pt>
                <c:pt idx="18">
                  <c:v>2.5136009232013445</c:v>
                </c:pt>
                <c:pt idx="19">
                  <c:v>2.5542930284289485</c:v>
                </c:pt>
                <c:pt idx="20">
                  <c:v>2.5954208702246202</c:v>
                </c:pt>
                <c:pt idx="21">
                  <c:v>2.6106802582648578</c:v>
                </c:pt>
                <c:pt idx="22">
                  <c:v>2.6270386204442113</c:v>
                </c:pt>
                <c:pt idx="23">
                  <c:v>2.6110809839149334</c:v>
                </c:pt>
                <c:pt idx="24">
                  <c:v>2.6244864843065172</c:v>
                </c:pt>
                <c:pt idx="25">
                  <c:v>2.6394933513142163</c:v>
                </c:pt>
                <c:pt idx="26">
                  <c:v>2.5958960608098645</c:v>
                </c:pt>
                <c:pt idx="27">
                  <c:v>2.5946540657479038</c:v>
                </c:pt>
                <c:pt idx="28">
                  <c:v>2.5482064065905856</c:v>
                </c:pt>
                <c:pt idx="29">
                  <c:v>2.5110617802154374</c:v>
                </c:pt>
                <c:pt idx="30">
                  <c:v>2.4773415844344338</c:v>
                </c:pt>
                <c:pt idx="31">
                  <c:v>2.4377942314043084</c:v>
                </c:pt>
                <c:pt idx="32">
                  <c:v>2.4040843090716173</c:v>
                </c:pt>
                <c:pt idx="33">
                  <c:v>2.398438527800137</c:v>
                </c:pt>
                <c:pt idx="34">
                  <c:v>2.4153353673065916</c:v>
                </c:pt>
                <c:pt idx="35">
                  <c:v>2.4162067867113124</c:v>
                </c:pt>
                <c:pt idx="36">
                  <c:v>2.3971577604832111</c:v>
                </c:pt>
                <c:pt idx="37">
                  <c:v>2.3987984952451442</c:v>
                </c:pt>
                <c:pt idx="38">
                  <c:v>2.412529859997171</c:v>
                </c:pt>
                <c:pt idx="39">
                  <c:v>2.4019595932982378</c:v>
                </c:pt>
                <c:pt idx="40">
                  <c:v>2.4038656533457479</c:v>
                </c:pt>
                <c:pt idx="41">
                  <c:v>2.3705677642970704</c:v>
                </c:pt>
                <c:pt idx="42">
                  <c:v>2.3773975811240997</c:v>
                </c:pt>
                <c:pt idx="43">
                  <c:v>2.3493648663009759</c:v>
                </c:pt>
                <c:pt idx="44">
                  <c:v>2.3121759069577816</c:v>
                </c:pt>
                <c:pt idx="45">
                  <c:v>2.3245334276537024</c:v>
                </c:pt>
                <c:pt idx="46">
                  <c:v>2.3219021458125879</c:v>
                </c:pt>
                <c:pt idx="47">
                  <c:v>2.3149821314764694</c:v>
                </c:pt>
                <c:pt idx="48">
                  <c:v>2.287672980696954</c:v>
                </c:pt>
                <c:pt idx="49">
                  <c:v>2.3005257415930864</c:v>
                </c:pt>
                <c:pt idx="50">
                  <c:v>2.3692906327736938</c:v>
                </c:pt>
                <c:pt idx="51">
                  <c:v>2.36844282397224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7A9C-43CE-B427-15FF4606C85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83353840"/>
        <c:axId val="483357776"/>
      </c:lineChart>
      <c:catAx>
        <c:axId val="483353840"/>
        <c:scaling>
          <c:orientation val="minMax"/>
        </c:scaling>
        <c:delete val="0"/>
        <c:axPos val="b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7776"/>
        <c:crosses val="autoZero"/>
        <c:auto val="1"/>
        <c:lblAlgn val="ctr"/>
        <c:lblOffset val="100"/>
        <c:tickLblSkip val="4"/>
        <c:noMultiLvlLbl val="0"/>
      </c:catAx>
      <c:valAx>
        <c:axId val="483357776"/>
        <c:scaling>
          <c:orientation val="minMax"/>
          <c:max val="3.6"/>
          <c:min val="1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83353840"/>
        <c:crosses val="autoZero"/>
        <c:crossBetween val="between"/>
        <c:majorUnit val="0.2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0.10303076698745987"/>
          <c:y val="0.76921281714785661"/>
          <c:w val="0.59928477690288706"/>
          <c:h val="7.0412729658792653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1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92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</a:rPr>
              <a:t>Loadings originated,</a:t>
            </a:r>
            <a:r>
              <a:rPr lang="en-US" sz="1400" baseline="0" dirty="0">
                <a:solidFill>
                  <a:schemeClr val="tx1"/>
                </a:solidFill>
              </a:rPr>
              <a:t> monthly, seasonally adjusted</a:t>
            </a:r>
            <a:endParaRPr lang="en-US" sz="1400" dirty="0">
              <a:solidFill>
                <a:schemeClr val="tx1"/>
              </a:solidFill>
            </a:endParaRPr>
          </a:p>
        </c:rich>
      </c:tx>
      <c:layout>
        <c:manualLayout>
          <c:xMode val="edge"/>
          <c:yMode val="edge"/>
          <c:x val="8.9459469740195474E-2"/>
          <c:y val="1.66666666666666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92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4520997375328089E-2"/>
          <c:y val="8.2680664916885374E-2"/>
          <c:w val="0.89129189014416677"/>
          <c:h val="0.72314763779527558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Loadings History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dPt>
            <c:idx val="30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0-613D-E54A-9BA6-CC833435284D}"/>
              </c:ext>
            </c:extLst>
          </c:dPt>
          <c:trendline>
            <c:spPr>
              <a:ln w="1905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numRef>
              <c:f>Sheet1!$A$2:$A$308</c:f>
              <c:numCache>
                <c:formatCode>[$-409]mmm\-yy;@</c:formatCode>
                <c:ptCount val="307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  <c:pt idx="300">
                  <c:v>45658</c:v>
                </c:pt>
                <c:pt idx="301">
                  <c:v>45689</c:v>
                </c:pt>
                <c:pt idx="302">
                  <c:v>45717</c:v>
                </c:pt>
                <c:pt idx="303">
                  <c:v>45748</c:v>
                </c:pt>
                <c:pt idx="304">
                  <c:v>45778</c:v>
                </c:pt>
                <c:pt idx="305">
                  <c:v>45809</c:v>
                </c:pt>
                <c:pt idx="306">
                  <c:v>45839</c:v>
                </c:pt>
              </c:numCache>
            </c:numRef>
          </c:cat>
          <c:val>
            <c:numRef>
              <c:f>Sheet1!$B$2:$B$308</c:f>
              <c:numCache>
                <c:formatCode>_(* #,##0_);_(* \(#,##0\);_(* "-"??_);_(@_)</c:formatCode>
                <c:ptCount val="307"/>
                <c:pt idx="0">
                  <c:v>5763040.5883622728</c:v>
                </c:pt>
                <c:pt idx="1">
                  <c:v>5687630.0159896286</c:v>
                </c:pt>
                <c:pt idx="2">
                  <c:v>5673757.369599116</c:v>
                </c:pt>
                <c:pt idx="3">
                  <c:v>5748149.1683576675</c:v>
                </c:pt>
                <c:pt idx="4">
                  <c:v>5670949.8960704617</c:v>
                </c:pt>
                <c:pt idx="5">
                  <c:v>5565921.6159889121</c:v>
                </c:pt>
                <c:pt idx="6">
                  <c:v>5599027.1902820477</c:v>
                </c:pt>
                <c:pt idx="7">
                  <c:v>5563632.2962740837</c:v>
                </c:pt>
                <c:pt idx="8">
                  <c:v>5567506.5433266005</c:v>
                </c:pt>
                <c:pt idx="9">
                  <c:v>5601538.0511927297</c:v>
                </c:pt>
                <c:pt idx="10">
                  <c:v>5550421.2612352362</c:v>
                </c:pt>
                <c:pt idx="11">
                  <c:v>5435838.5667655217</c:v>
                </c:pt>
                <c:pt idx="12">
                  <c:v>5616284.296497413</c:v>
                </c:pt>
                <c:pt idx="13">
                  <c:v>5513326.1691281591</c:v>
                </c:pt>
                <c:pt idx="14">
                  <c:v>5583739.9337099772</c:v>
                </c:pt>
                <c:pt idx="15">
                  <c:v>5524950.3228872819</c:v>
                </c:pt>
                <c:pt idx="16">
                  <c:v>5521669.3338127611</c:v>
                </c:pt>
                <c:pt idx="17">
                  <c:v>5486308.5646809544</c:v>
                </c:pt>
                <c:pt idx="18">
                  <c:v>5431241.2073403755</c:v>
                </c:pt>
                <c:pt idx="19">
                  <c:v>5375382.7294536261</c:v>
                </c:pt>
                <c:pt idx="20">
                  <c:v>5419302.8640369605</c:v>
                </c:pt>
                <c:pt idx="21">
                  <c:v>5386558.0100344727</c:v>
                </c:pt>
                <c:pt idx="22">
                  <c:v>5392002.8507221872</c:v>
                </c:pt>
                <c:pt idx="23">
                  <c:v>5365544.912894126</c:v>
                </c:pt>
                <c:pt idx="24">
                  <c:v>5371508.8884241963</c:v>
                </c:pt>
                <c:pt idx="25">
                  <c:v>5365499.5974338455</c:v>
                </c:pt>
                <c:pt idx="26">
                  <c:v>5353048.2214233149</c:v>
                </c:pt>
                <c:pt idx="27">
                  <c:v>5405729.2095934525</c:v>
                </c:pt>
                <c:pt idx="28">
                  <c:v>5425901.5888884179</c:v>
                </c:pt>
                <c:pt idx="29">
                  <c:v>5489234.4007974956</c:v>
                </c:pt>
                <c:pt idx="30">
                  <c:v>5450648.3835541317</c:v>
                </c:pt>
                <c:pt idx="31">
                  <c:v>5464846.0067958459</c:v>
                </c:pt>
                <c:pt idx="32">
                  <c:v>5500627.0974633917</c:v>
                </c:pt>
                <c:pt idx="33">
                  <c:v>5434586.6025846461</c:v>
                </c:pt>
                <c:pt idx="34">
                  <c:v>5409000.0764263915</c:v>
                </c:pt>
                <c:pt idx="35">
                  <c:v>5386209.5345227411</c:v>
                </c:pt>
                <c:pt idx="36">
                  <c:v>5346175.0095217535</c:v>
                </c:pt>
                <c:pt idx="37">
                  <c:v>5337434.7452091239</c:v>
                </c:pt>
                <c:pt idx="38">
                  <c:v>5315423.5562164048</c:v>
                </c:pt>
                <c:pt idx="39">
                  <c:v>5320780.4525017645</c:v>
                </c:pt>
                <c:pt idx="40">
                  <c:v>5408133.7519998308</c:v>
                </c:pt>
                <c:pt idx="41">
                  <c:v>5434838.9520733086</c:v>
                </c:pt>
                <c:pt idx="42">
                  <c:v>5325573.2256572461</c:v>
                </c:pt>
                <c:pt idx="43">
                  <c:v>5341643.7409047252</c:v>
                </c:pt>
                <c:pt idx="44">
                  <c:v>5308862.3873405252</c:v>
                </c:pt>
                <c:pt idx="45">
                  <c:v>5280925.3108246196</c:v>
                </c:pt>
                <c:pt idx="46">
                  <c:v>5360136.9538340084</c:v>
                </c:pt>
                <c:pt idx="47">
                  <c:v>5302650.6564899227</c:v>
                </c:pt>
                <c:pt idx="48">
                  <c:v>5428810.5562085938</c:v>
                </c:pt>
                <c:pt idx="49">
                  <c:v>5416846.0695666894</c:v>
                </c:pt>
                <c:pt idx="50">
                  <c:v>5480324.543025394</c:v>
                </c:pt>
                <c:pt idx="51">
                  <c:v>5534713.120031327</c:v>
                </c:pt>
                <c:pt idx="52">
                  <c:v>5560152.8843151871</c:v>
                </c:pt>
                <c:pt idx="53">
                  <c:v>5516337.4271598952</c:v>
                </c:pt>
                <c:pt idx="54">
                  <c:v>5673177.6609046031</c:v>
                </c:pt>
                <c:pt idx="55">
                  <c:v>5693814.3018073253</c:v>
                </c:pt>
                <c:pt idx="56">
                  <c:v>5689352.6493934477</c:v>
                </c:pt>
                <c:pt idx="57">
                  <c:v>5856386.212296214</c:v>
                </c:pt>
                <c:pt idx="58">
                  <c:v>5860256.0785202319</c:v>
                </c:pt>
                <c:pt idx="59">
                  <c:v>5967078.3973500812</c:v>
                </c:pt>
                <c:pt idx="60">
                  <c:v>5851453.6142904619</c:v>
                </c:pt>
                <c:pt idx="61">
                  <c:v>5849941.7826501355</c:v>
                </c:pt>
                <c:pt idx="62">
                  <c:v>5763285.0256408099</c:v>
                </c:pt>
                <c:pt idx="63">
                  <c:v>5760983.1421123585</c:v>
                </c:pt>
                <c:pt idx="64">
                  <c:v>5733235.0213440377</c:v>
                </c:pt>
                <c:pt idx="65">
                  <c:v>5752441.9606919801</c:v>
                </c:pt>
                <c:pt idx="66">
                  <c:v>5674200.3637580443</c:v>
                </c:pt>
                <c:pt idx="67">
                  <c:v>5699272.7308943216</c:v>
                </c:pt>
                <c:pt idx="68">
                  <c:v>5796011.8228463847</c:v>
                </c:pt>
                <c:pt idx="69">
                  <c:v>5868723.2525926288</c:v>
                </c:pt>
                <c:pt idx="70">
                  <c:v>6036153.962021945</c:v>
                </c:pt>
                <c:pt idx="71">
                  <c:v>5904714.9749894952</c:v>
                </c:pt>
                <c:pt idx="72">
                  <c:v>6146319.8842527326</c:v>
                </c:pt>
                <c:pt idx="73">
                  <c:v>6104723.4637576221</c:v>
                </c:pt>
                <c:pt idx="74">
                  <c:v>6071296.8800919559</c:v>
                </c:pt>
                <c:pt idx="75">
                  <c:v>6313736.4466393618</c:v>
                </c:pt>
                <c:pt idx="76">
                  <c:v>6208606.4587044492</c:v>
                </c:pt>
                <c:pt idx="77">
                  <c:v>6195627.6315002069</c:v>
                </c:pt>
                <c:pt idx="78">
                  <c:v>6267669.2911269851</c:v>
                </c:pt>
                <c:pt idx="79">
                  <c:v>6282830.0190154873</c:v>
                </c:pt>
                <c:pt idx="80">
                  <c:v>6247392.2112658992</c:v>
                </c:pt>
                <c:pt idx="81">
                  <c:v>6250280.0025709076</c:v>
                </c:pt>
                <c:pt idx="82">
                  <c:v>6301364.8794088624</c:v>
                </c:pt>
                <c:pt idx="83">
                  <c:v>6520136.8039051145</c:v>
                </c:pt>
                <c:pt idx="84">
                  <c:v>6482730.8960059918</c:v>
                </c:pt>
                <c:pt idx="85">
                  <c:v>6375440.6978598665</c:v>
                </c:pt>
                <c:pt idx="86">
                  <c:v>6505375.5966679156</c:v>
                </c:pt>
                <c:pt idx="87">
                  <c:v>6334368.696312014</c:v>
                </c:pt>
                <c:pt idx="88">
                  <c:v>6352592.3114472805</c:v>
                </c:pt>
                <c:pt idx="89">
                  <c:v>6419964.6535763433</c:v>
                </c:pt>
                <c:pt idx="90">
                  <c:v>6371002.3354285872</c:v>
                </c:pt>
                <c:pt idx="91">
                  <c:v>6406764.7041111309</c:v>
                </c:pt>
                <c:pt idx="92">
                  <c:v>6348402.3193688346</c:v>
                </c:pt>
                <c:pt idx="93">
                  <c:v>6278962.1574114552</c:v>
                </c:pt>
                <c:pt idx="94">
                  <c:v>6324707.9970664028</c:v>
                </c:pt>
                <c:pt idx="95">
                  <c:v>6118850.5226546228</c:v>
                </c:pt>
                <c:pt idx="96">
                  <c:v>6435396.3308290914</c:v>
                </c:pt>
                <c:pt idx="97">
                  <c:v>6331157.4152178383</c:v>
                </c:pt>
                <c:pt idx="98">
                  <c:v>6334966.9325727476</c:v>
                </c:pt>
                <c:pt idx="99">
                  <c:v>6313021.2525161449</c:v>
                </c:pt>
                <c:pt idx="100">
                  <c:v>6210693.212824977</c:v>
                </c:pt>
                <c:pt idx="101">
                  <c:v>6097665.5103461938</c:v>
                </c:pt>
                <c:pt idx="102">
                  <c:v>6082258.725681114</c:v>
                </c:pt>
                <c:pt idx="103">
                  <c:v>6002249.545293346</c:v>
                </c:pt>
                <c:pt idx="104">
                  <c:v>5848779.3457916016</c:v>
                </c:pt>
                <c:pt idx="105">
                  <c:v>5872212.7679449506</c:v>
                </c:pt>
                <c:pt idx="106">
                  <c:v>5568815.2267574258</c:v>
                </c:pt>
                <c:pt idx="107">
                  <c:v>5284535.690142598</c:v>
                </c:pt>
                <c:pt idx="108">
                  <c:v>5129158.6781135974</c:v>
                </c:pt>
                <c:pt idx="109">
                  <c:v>5010553.8515446726</c:v>
                </c:pt>
                <c:pt idx="110">
                  <c:v>4773641.3633162091</c:v>
                </c:pt>
                <c:pt idx="111">
                  <c:v>4693772.9562682612</c:v>
                </c:pt>
                <c:pt idx="112">
                  <c:v>4623053.5083310651</c:v>
                </c:pt>
                <c:pt idx="113">
                  <c:v>4655997.1682903115</c:v>
                </c:pt>
                <c:pt idx="114">
                  <c:v>4613245.808354185</c:v>
                </c:pt>
                <c:pt idx="115">
                  <c:v>4675675.909401902</c:v>
                </c:pt>
                <c:pt idx="116">
                  <c:v>4693348.2096071625</c:v>
                </c:pt>
                <c:pt idx="117">
                  <c:v>4510362.7347559799</c:v>
                </c:pt>
                <c:pt idx="118">
                  <c:v>4698398.2531976774</c:v>
                </c:pt>
                <c:pt idx="119">
                  <c:v>4509316.8210404525</c:v>
                </c:pt>
                <c:pt idx="120">
                  <c:v>4835794.8792071594</c:v>
                </c:pt>
                <c:pt idx="121">
                  <c:v>4840737.458072097</c:v>
                </c:pt>
                <c:pt idx="122">
                  <c:v>4915951.5995344669</c:v>
                </c:pt>
                <c:pt idx="123">
                  <c:v>5021870.1613674499</c:v>
                </c:pt>
                <c:pt idx="124">
                  <c:v>4999190.8534266455</c:v>
                </c:pt>
                <c:pt idx="125">
                  <c:v>5032609.610600302</c:v>
                </c:pt>
                <c:pt idx="126">
                  <c:v>5127051.1226736791</c:v>
                </c:pt>
                <c:pt idx="127">
                  <c:v>5117244.5272428598</c:v>
                </c:pt>
                <c:pt idx="128">
                  <c:v>5140503.2013989007</c:v>
                </c:pt>
                <c:pt idx="129">
                  <c:v>5252664.4340394828</c:v>
                </c:pt>
                <c:pt idx="130">
                  <c:v>5298091.3185876049</c:v>
                </c:pt>
                <c:pt idx="131">
                  <c:v>5206159.9345404264</c:v>
                </c:pt>
                <c:pt idx="132">
                  <c:v>5154674.2886144109</c:v>
                </c:pt>
                <c:pt idx="133">
                  <c:v>5185128.3376083504</c:v>
                </c:pt>
                <c:pt idx="134">
                  <c:v>5259354.5930228131</c:v>
                </c:pt>
                <c:pt idx="135">
                  <c:v>5236956.6215657974</c:v>
                </c:pt>
                <c:pt idx="136">
                  <c:v>5313084.4773174282</c:v>
                </c:pt>
                <c:pt idx="137">
                  <c:v>5323677.0600410039</c:v>
                </c:pt>
                <c:pt idx="138">
                  <c:v>5302573.0950809959</c:v>
                </c:pt>
                <c:pt idx="139">
                  <c:v>5324734.6657048902</c:v>
                </c:pt>
                <c:pt idx="140">
                  <c:v>5350873.5217854418</c:v>
                </c:pt>
                <c:pt idx="141">
                  <c:v>5282755.5322304983</c:v>
                </c:pt>
                <c:pt idx="142">
                  <c:v>5318635.1387287686</c:v>
                </c:pt>
                <c:pt idx="143">
                  <c:v>5313936.1480538156</c:v>
                </c:pt>
                <c:pt idx="144">
                  <c:v>5207603.4150101617</c:v>
                </c:pt>
                <c:pt idx="145">
                  <c:v>5281650.1388638457</c:v>
                </c:pt>
                <c:pt idx="146">
                  <c:v>5225179.2274613921</c:v>
                </c:pt>
                <c:pt idx="147">
                  <c:v>5383759.9380548503</c:v>
                </c:pt>
                <c:pt idx="148">
                  <c:v>5300797.5779030398</c:v>
                </c:pt>
                <c:pt idx="149">
                  <c:v>5313653.6940840185</c:v>
                </c:pt>
                <c:pt idx="150">
                  <c:v>5312820.621832286</c:v>
                </c:pt>
                <c:pt idx="151">
                  <c:v>5320055.9818014633</c:v>
                </c:pt>
                <c:pt idx="152">
                  <c:v>5296137.7408250161</c:v>
                </c:pt>
                <c:pt idx="153">
                  <c:v>5307503.5006451225</c:v>
                </c:pt>
                <c:pt idx="154">
                  <c:v>5373501.9714524047</c:v>
                </c:pt>
                <c:pt idx="155">
                  <c:v>5420410.3490843019</c:v>
                </c:pt>
                <c:pt idx="156">
                  <c:v>5388366.9865614232</c:v>
                </c:pt>
                <c:pt idx="157">
                  <c:v>5480635.6850642283</c:v>
                </c:pt>
                <c:pt idx="158">
                  <c:v>5490647.3705563005</c:v>
                </c:pt>
                <c:pt idx="159">
                  <c:v>5497393.0048085004</c:v>
                </c:pt>
                <c:pt idx="160">
                  <c:v>5563449.2118566865</c:v>
                </c:pt>
                <c:pt idx="161">
                  <c:v>5529818.7047302537</c:v>
                </c:pt>
                <c:pt idx="162">
                  <c:v>5512479.5214256421</c:v>
                </c:pt>
                <c:pt idx="163">
                  <c:v>5581138.9121572105</c:v>
                </c:pt>
                <c:pt idx="164">
                  <c:v>5650671.2465391345</c:v>
                </c:pt>
                <c:pt idx="165">
                  <c:v>5568067.4441308379</c:v>
                </c:pt>
                <c:pt idx="166">
                  <c:v>5631673.1231835838</c:v>
                </c:pt>
                <c:pt idx="167">
                  <c:v>5480070.5524690039</c:v>
                </c:pt>
                <c:pt idx="168">
                  <c:v>5537296.9441636214</c:v>
                </c:pt>
                <c:pt idx="169">
                  <c:v>5565412.3010824276</c:v>
                </c:pt>
                <c:pt idx="170">
                  <c:v>5628727.9225931996</c:v>
                </c:pt>
                <c:pt idx="171">
                  <c:v>5743439.0450694989</c:v>
                </c:pt>
                <c:pt idx="172">
                  <c:v>5815399.9475686746</c:v>
                </c:pt>
                <c:pt idx="173">
                  <c:v>5878722.8697546115</c:v>
                </c:pt>
                <c:pt idx="174">
                  <c:v>6048867.178969509</c:v>
                </c:pt>
                <c:pt idx="175">
                  <c:v>6020727.5430760747</c:v>
                </c:pt>
                <c:pt idx="176">
                  <c:v>6008108.430946772</c:v>
                </c:pt>
                <c:pt idx="177">
                  <c:v>6058690.8202823913</c:v>
                </c:pt>
                <c:pt idx="178">
                  <c:v>6040387.8778079292</c:v>
                </c:pt>
                <c:pt idx="179">
                  <c:v>6066554.7001261571</c:v>
                </c:pt>
                <c:pt idx="180">
                  <c:v>6128672.7856857628</c:v>
                </c:pt>
                <c:pt idx="181">
                  <c:v>6052372.6825690307</c:v>
                </c:pt>
                <c:pt idx="182">
                  <c:v>6054423.860643507</c:v>
                </c:pt>
                <c:pt idx="183">
                  <c:v>6052769.4666651934</c:v>
                </c:pt>
                <c:pt idx="184">
                  <c:v>6066021.7254665093</c:v>
                </c:pt>
                <c:pt idx="185">
                  <c:v>6096661.8780852053</c:v>
                </c:pt>
                <c:pt idx="186">
                  <c:v>6038479.4861590825</c:v>
                </c:pt>
                <c:pt idx="187">
                  <c:v>6006889.8880650373</c:v>
                </c:pt>
                <c:pt idx="188">
                  <c:v>5983915.9705568245</c:v>
                </c:pt>
                <c:pt idx="189">
                  <c:v>5945706.0659619076</c:v>
                </c:pt>
                <c:pt idx="190">
                  <c:v>5935150.048719734</c:v>
                </c:pt>
                <c:pt idx="191">
                  <c:v>5971521.8870227775</c:v>
                </c:pt>
                <c:pt idx="192">
                  <c:v>6134776.8665803382</c:v>
                </c:pt>
                <c:pt idx="193">
                  <c:v>6130748.8159475094</c:v>
                </c:pt>
                <c:pt idx="194">
                  <c:v>6097995.4045629641</c:v>
                </c:pt>
                <c:pt idx="195">
                  <c:v>6530941.2942919405</c:v>
                </c:pt>
                <c:pt idx="196">
                  <c:v>6540073.6585433986</c:v>
                </c:pt>
                <c:pt idx="197">
                  <c:v>6553255.8034846643</c:v>
                </c:pt>
                <c:pt idx="198">
                  <c:v>6843720.9694022154</c:v>
                </c:pt>
                <c:pt idx="199">
                  <c:v>6746045.8127201917</c:v>
                </c:pt>
                <c:pt idx="200">
                  <c:v>6802944.8629041677</c:v>
                </c:pt>
                <c:pt idx="201">
                  <c:v>6973054.775548338</c:v>
                </c:pt>
                <c:pt idx="202">
                  <c:v>6970022.6119721988</c:v>
                </c:pt>
                <c:pt idx="203">
                  <c:v>6901292.1404386098</c:v>
                </c:pt>
                <c:pt idx="204">
                  <c:v>7299579.6635486949</c:v>
                </c:pt>
                <c:pt idx="205">
                  <c:v>7376783.4671128821</c:v>
                </c:pt>
                <c:pt idx="206">
                  <c:v>7338935.2305611633</c:v>
                </c:pt>
                <c:pt idx="207">
                  <c:v>7328282.4700280633</c:v>
                </c:pt>
                <c:pt idx="208">
                  <c:v>7295279.4198939456</c:v>
                </c:pt>
                <c:pt idx="209">
                  <c:v>7260192.7883884264</c:v>
                </c:pt>
                <c:pt idx="210">
                  <c:v>7349100.4401477203</c:v>
                </c:pt>
                <c:pt idx="211">
                  <c:v>7292716.6398252388</c:v>
                </c:pt>
                <c:pt idx="212">
                  <c:v>7500729.4678226346</c:v>
                </c:pt>
                <c:pt idx="213">
                  <c:v>7478088.7111459039</c:v>
                </c:pt>
                <c:pt idx="214">
                  <c:v>7539839.8241714519</c:v>
                </c:pt>
                <c:pt idx="215">
                  <c:v>7525228.9022607664</c:v>
                </c:pt>
                <c:pt idx="216">
                  <c:v>7407430.9662515167</c:v>
                </c:pt>
                <c:pt idx="217">
                  <c:v>7704667.8776762169</c:v>
                </c:pt>
                <c:pt idx="218">
                  <c:v>7599349.1754412018</c:v>
                </c:pt>
                <c:pt idx="219">
                  <c:v>7621485.779365615</c:v>
                </c:pt>
                <c:pt idx="220">
                  <c:v>7599447.421888846</c:v>
                </c:pt>
                <c:pt idx="221">
                  <c:v>7627026.5825054012</c:v>
                </c:pt>
                <c:pt idx="222">
                  <c:v>7528828.7915694984</c:v>
                </c:pt>
                <c:pt idx="223">
                  <c:v>7572762.3623689758</c:v>
                </c:pt>
                <c:pt idx="224">
                  <c:v>7508772.8214201862</c:v>
                </c:pt>
                <c:pt idx="225">
                  <c:v>7580905.886423694</c:v>
                </c:pt>
                <c:pt idx="226">
                  <c:v>7530899.2478167918</c:v>
                </c:pt>
                <c:pt idx="227">
                  <c:v>7637734.7334524384</c:v>
                </c:pt>
                <c:pt idx="228">
                  <c:v>7826959.4116900247</c:v>
                </c:pt>
                <c:pt idx="229">
                  <c:v>7539029.3265242977</c:v>
                </c:pt>
                <c:pt idx="230">
                  <c:v>7602470.6756080715</c:v>
                </c:pt>
                <c:pt idx="231">
                  <c:v>7638604.2733250717</c:v>
                </c:pt>
                <c:pt idx="232">
                  <c:v>7628005.7601603623</c:v>
                </c:pt>
                <c:pt idx="233">
                  <c:v>7682192.829357489</c:v>
                </c:pt>
                <c:pt idx="234">
                  <c:v>7664673.1826423472</c:v>
                </c:pt>
                <c:pt idx="235">
                  <c:v>7615787.1648056619</c:v>
                </c:pt>
                <c:pt idx="236">
                  <c:v>7591948.1964770667</c:v>
                </c:pt>
                <c:pt idx="237">
                  <c:v>7590107.5561779942</c:v>
                </c:pt>
                <c:pt idx="238">
                  <c:v>7564728.8703650236</c:v>
                </c:pt>
                <c:pt idx="239">
                  <c:v>7596573.9789965088</c:v>
                </c:pt>
                <c:pt idx="240">
                  <c:v>7736195.8141280711</c:v>
                </c:pt>
                <c:pt idx="241">
                  <c:v>7670683.3802895006</c:v>
                </c:pt>
                <c:pt idx="242">
                  <c:v>7387371.3711376637</c:v>
                </c:pt>
                <c:pt idx="243">
                  <c:v>6447796.1627944829</c:v>
                </c:pt>
                <c:pt idx="244">
                  <c:v>6805863.3810067</c:v>
                </c:pt>
                <c:pt idx="245">
                  <c:v>6937176.1313197603</c:v>
                </c:pt>
                <c:pt idx="246">
                  <c:v>7109770.2700661588</c:v>
                </c:pt>
                <c:pt idx="247">
                  <c:v>7244053.0913970191</c:v>
                </c:pt>
                <c:pt idx="248">
                  <c:v>7223782.838228534</c:v>
                </c:pt>
                <c:pt idx="249">
                  <c:v>7265049.6998932417</c:v>
                </c:pt>
                <c:pt idx="250">
                  <c:v>7354462.1856401069</c:v>
                </c:pt>
                <c:pt idx="251">
                  <c:v>7474342.5883318661</c:v>
                </c:pt>
                <c:pt idx="252">
                  <c:v>7416149.0559756458</c:v>
                </c:pt>
                <c:pt idx="253">
                  <c:v>7164118.0413592001</c:v>
                </c:pt>
                <c:pt idx="254">
                  <c:v>7410416.2575894827</c:v>
                </c:pt>
                <c:pt idx="255">
                  <c:v>7441950.3911500955</c:v>
                </c:pt>
                <c:pt idx="256">
                  <c:v>7430335.2815977819</c:v>
                </c:pt>
                <c:pt idx="257">
                  <c:v>7422460.196334146</c:v>
                </c:pt>
                <c:pt idx="258">
                  <c:v>7557624.6570609845</c:v>
                </c:pt>
                <c:pt idx="259">
                  <c:v>7608721.3447382161</c:v>
                </c:pt>
                <c:pt idx="260">
                  <c:v>7669403.9892804306</c:v>
                </c:pt>
                <c:pt idx="261">
                  <c:v>7624344.1990582626</c:v>
                </c:pt>
                <c:pt idx="262">
                  <c:v>7787747.7166818175</c:v>
                </c:pt>
                <c:pt idx="263">
                  <c:v>7810648.5715544503</c:v>
                </c:pt>
                <c:pt idx="264">
                  <c:v>7723437.1982732704</c:v>
                </c:pt>
                <c:pt idx="265">
                  <c:v>7949384.8752549309</c:v>
                </c:pt>
                <c:pt idx="266">
                  <c:v>7846947.2824209286</c:v>
                </c:pt>
                <c:pt idx="267">
                  <c:v>7835665.7747079693</c:v>
                </c:pt>
                <c:pt idx="268">
                  <c:v>7900336.4330620905</c:v>
                </c:pt>
                <c:pt idx="269">
                  <c:v>7807994.9790418418</c:v>
                </c:pt>
                <c:pt idx="270">
                  <c:v>7779551.2896802556</c:v>
                </c:pt>
                <c:pt idx="271">
                  <c:v>7802537.6536501888</c:v>
                </c:pt>
                <c:pt idx="272">
                  <c:v>7838319.635014764</c:v>
                </c:pt>
                <c:pt idx="273">
                  <c:v>7812351.5647497652</c:v>
                </c:pt>
                <c:pt idx="274">
                  <c:v>7781664.0344989812</c:v>
                </c:pt>
                <c:pt idx="275">
                  <c:v>7783881.6636700612</c:v>
                </c:pt>
                <c:pt idx="276">
                  <c:v>7835012.1613019994</c:v>
                </c:pt>
                <c:pt idx="277">
                  <c:v>7917440.5261849174</c:v>
                </c:pt>
                <c:pt idx="278">
                  <c:v>7734356.4327803273</c:v>
                </c:pt>
                <c:pt idx="279">
                  <c:v>7800756.4926119167</c:v>
                </c:pt>
                <c:pt idx="280">
                  <c:v>7724867.2403815845</c:v>
                </c:pt>
                <c:pt idx="281">
                  <c:v>7666439.0655983258</c:v>
                </c:pt>
                <c:pt idx="282">
                  <c:v>7751961.858885289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30B8-4E87-930B-B84B9F64AB9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Forecast</c:v>
                </c:pt>
              </c:strCache>
            </c:strRef>
          </c:tx>
          <c:spPr>
            <a:ln w="38100" cap="rnd">
              <a:solidFill>
                <a:srgbClr val="00B050"/>
              </a:solidFill>
              <a:prstDash val="sysDash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A$2:$A$308</c:f>
              <c:numCache>
                <c:formatCode>[$-409]mmm\-yy;@</c:formatCode>
                <c:ptCount val="307"/>
                <c:pt idx="0">
                  <c:v>36526</c:v>
                </c:pt>
                <c:pt idx="1">
                  <c:v>36557</c:v>
                </c:pt>
                <c:pt idx="2">
                  <c:v>36586</c:v>
                </c:pt>
                <c:pt idx="3">
                  <c:v>36617</c:v>
                </c:pt>
                <c:pt idx="4">
                  <c:v>36647</c:v>
                </c:pt>
                <c:pt idx="5">
                  <c:v>36678</c:v>
                </c:pt>
                <c:pt idx="6">
                  <c:v>36708</c:v>
                </c:pt>
                <c:pt idx="7">
                  <c:v>36739</c:v>
                </c:pt>
                <c:pt idx="8">
                  <c:v>36770</c:v>
                </c:pt>
                <c:pt idx="9">
                  <c:v>36800</c:v>
                </c:pt>
                <c:pt idx="10">
                  <c:v>36831</c:v>
                </c:pt>
                <c:pt idx="11">
                  <c:v>36861</c:v>
                </c:pt>
                <c:pt idx="12">
                  <c:v>36892</c:v>
                </c:pt>
                <c:pt idx="13">
                  <c:v>36923</c:v>
                </c:pt>
                <c:pt idx="14">
                  <c:v>36951</c:v>
                </c:pt>
                <c:pt idx="15">
                  <c:v>36982</c:v>
                </c:pt>
                <c:pt idx="16">
                  <c:v>37012</c:v>
                </c:pt>
                <c:pt idx="17">
                  <c:v>37043</c:v>
                </c:pt>
                <c:pt idx="18">
                  <c:v>37073</c:v>
                </c:pt>
                <c:pt idx="19">
                  <c:v>37104</c:v>
                </c:pt>
                <c:pt idx="20">
                  <c:v>37135</c:v>
                </c:pt>
                <c:pt idx="21">
                  <c:v>37165</c:v>
                </c:pt>
                <c:pt idx="22">
                  <c:v>37196</c:v>
                </c:pt>
                <c:pt idx="23">
                  <c:v>37226</c:v>
                </c:pt>
                <c:pt idx="24">
                  <c:v>37257</c:v>
                </c:pt>
                <c:pt idx="25">
                  <c:v>37288</c:v>
                </c:pt>
                <c:pt idx="26">
                  <c:v>37316</c:v>
                </c:pt>
                <c:pt idx="27">
                  <c:v>37347</c:v>
                </c:pt>
                <c:pt idx="28">
                  <c:v>37377</c:v>
                </c:pt>
                <c:pt idx="29">
                  <c:v>37408</c:v>
                </c:pt>
                <c:pt idx="30">
                  <c:v>37438</c:v>
                </c:pt>
                <c:pt idx="31">
                  <c:v>37469</c:v>
                </c:pt>
                <c:pt idx="32">
                  <c:v>37500</c:v>
                </c:pt>
                <c:pt idx="33">
                  <c:v>37530</c:v>
                </c:pt>
                <c:pt idx="34">
                  <c:v>37561</c:v>
                </c:pt>
                <c:pt idx="35">
                  <c:v>37591</c:v>
                </c:pt>
                <c:pt idx="36">
                  <c:v>37622</c:v>
                </c:pt>
                <c:pt idx="37">
                  <c:v>37653</c:v>
                </c:pt>
                <c:pt idx="38">
                  <c:v>37681</c:v>
                </c:pt>
                <c:pt idx="39">
                  <c:v>37712</c:v>
                </c:pt>
                <c:pt idx="40">
                  <c:v>37742</c:v>
                </c:pt>
                <c:pt idx="41">
                  <c:v>37773</c:v>
                </c:pt>
                <c:pt idx="42">
                  <c:v>37803</c:v>
                </c:pt>
                <c:pt idx="43">
                  <c:v>37834</c:v>
                </c:pt>
                <c:pt idx="44">
                  <c:v>37865</c:v>
                </c:pt>
                <c:pt idx="45">
                  <c:v>37895</c:v>
                </c:pt>
                <c:pt idx="46">
                  <c:v>37926</c:v>
                </c:pt>
                <c:pt idx="47">
                  <c:v>37956</c:v>
                </c:pt>
                <c:pt idx="48">
                  <c:v>37987</c:v>
                </c:pt>
                <c:pt idx="49">
                  <c:v>38018</c:v>
                </c:pt>
                <c:pt idx="50">
                  <c:v>38047</c:v>
                </c:pt>
                <c:pt idx="51">
                  <c:v>38078</c:v>
                </c:pt>
                <c:pt idx="52">
                  <c:v>38108</c:v>
                </c:pt>
                <c:pt idx="53">
                  <c:v>38139</c:v>
                </c:pt>
                <c:pt idx="54">
                  <c:v>38169</c:v>
                </c:pt>
                <c:pt idx="55">
                  <c:v>38200</c:v>
                </c:pt>
                <c:pt idx="56">
                  <c:v>38231</c:v>
                </c:pt>
                <c:pt idx="57">
                  <c:v>38261</c:v>
                </c:pt>
                <c:pt idx="58">
                  <c:v>38292</c:v>
                </c:pt>
                <c:pt idx="59">
                  <c:v>38322</c:v>
                </c:pt>
                <c:pt idx="60">
                  <c:v>38353</c:v>
                </c:pt>
                <c:pt idx="61">
                  <c:v>38384</c:v>
                </c:pt>
                <c:pt idx="62">
                  <c:v>38412</c:v>
                </c:pt>
                <c:pt idx="63">
                  <c:v>38443</c:v>
                </c:pt>
                <c:pt idx="64">
                  <c:v>38473</c:v>
                </c:pt>
                <c:pt idx="65">
                  <c:v>38504</c:v>
                </c:pt>
                <c:pt idx="66">
                  <c:v>38534</c:v>
                </c:pt>
                <c:pt idx="67">
                  <c:v>38565</c:v>
                </c:pt>
                <c:pt idx="68">
                  <c:v>38596</c:v>
                </c:pt>
                <c:pt idx="69">
                  <c:v>38626</c:v>
                </c:pt>
                <c:pt idx="70">
                  <c:v>38657</c:v>
                </c:pt>
                <c:pt idx="71">
                  <c:v>38687</c:v>
                </c:pt>
                <c:pt idx="72">
                  <c:v>38718</c:v>
                </c:pt>
                <c:pt idx="73">
                  <c:v>38749</c:v>
                </c:pt>
                <c:pt idx="74">
                  <c:v>38777</c:v>
                </c:pt>
                <c:pt idx="75">
                  <c:v>38808</c:v>
                </c:pt>
                <c:pt idx="76">
                  <c:v>38838</c:v>
                </c:pt>
                <c:pt idx="77">
                  <c:v>38869</c:v>
                </c:pt>
                <c:pt idx="78">
                  <c:v>38899</c:v>
                </c:pt>
                <c:pt idx="79">
                  <c:v>38930</c:v>
                </c:pt>
                <c:pt idx="80">
                  <c:v>38961</c:v>
                </c:pt>
                <c:pt idx="81">
                  <c:v>38991</c:v>
                </c:pt>
                <c:pt idx="82">
                  <c:v>39022</c:v>
                </c:pt>
                <c:pt idx="83">
                  <c:v>39052</c:v>
                </c:pt>
                <c:pt idx="84">
                  <c:v>39083</c:v>
                </c:pt>
                <c:pt idx="85">
                  <c:v>39114</c:v>
                </c:pt>
                <c:pt idx="86">
                  <c:v>39142</c:v>
                </c:pt>
                <c:pt idx="87">
                  <c:v>39173</c:v>
                </c:pt>
                <c:pt idx="88">
                  <c:v>39203</c:v>
                </c:pt>
                <c:pt idx="89">
                  <c:v>39234</c:v>
                </c:pt>
                <c:pt idx="90">
                  <c:v>39264</c:v>
                </c:pt>
                <c:pt idx="91">
                  <c:v>39295</c:v>
                </c:pt>
                <c:pt idx="92">
                  <c:v>39326</c:v>
                </c:pt>
                <c:pt idx="93">
                  <c:v>39356</c:v>
                </c:pt>
                <c:pt idx="94">
                  <c:v>39387</c:v>
                </c:pt>
                <c:pt idx="95">
                  <c:v>39417</c:v>
                </c:pt>
                <c:pt idx="96">
                  <c:v>39448</c:v>
                </c:pt>
                <c:pt idx="97">
                  <c:v>39479</c:v>
                </c:pt>
                <c:pt idx="98">
                  <c:v>39508</c:v>
                </c:pt>
                <c:pt idx="99">
                  <c:v>39539</c:v>
                </c:pt>
                <c:pt idx="100">
                  <c:v>39569</c:v>
                </c:pt>
                <c:pt idx="101">
                  <c:v>39600</c:v>
                </c:pt>
                <c:pt idx="102">
                  <c:v>39630</c:v>
                </c:pt>
                <c:pt idx="103">
                  <c:v>39661</c:v>
                </c:pt>
                <c:pt idx="104">
                  <c:v>39692</c:v>
                </c:pt>
                <c:pt idx="105">
                  <c:v>39722</c:v>
                </c:pt>
                <c:pt idx="106">
                  <c:v>39753</c:v>
                </c:pt>
                <c:pt idx="107">
                  <c:v>39783</c:v>
                </c:pt>
                <c:pt idx="108">
                  <c:v>39814</c:v>
                </c:pt>
                <c:pt idx="109">
                  <c:v>39845</c:v>
                </c:pt>
                <c:pt idx="110">
                  <c:v>39873</c:v>
                </c:pt>
                <c:pt idx="111">
                  <c:v>39904</c:v>
                </c:pt>
                <c:pt idx="112">
                  <c:v>39934</c:v>
                </c:pt>
                <c:pt idx="113">
                  <c:v>39965</c:v>
                </c:pt>
                <c:pt idx="114">
                  <c:v>39995</c:v>
                </c:pt>
                <c:pt idx="115">
                  <c:v>40026</c:v>
                </c:pt>
                <c:pt idx="116">
                  <c:v>40057</c:v>
                </c:pt>
                <c:pt idx="117">
                  <c:v>40087</c:v>
                </c:pt>
                <c:pt idx="118">
                  <c:v>40118</c:v>
                </c:pt>
                <c:pt idx="119">
                  <c:v>40148</c:v>
                </c:pt>
                <c:pt idx="120">
                  <c:v>40179</c:v>
                </c:pt>
                <c:pt idx="121">
                  <c:v>40210</c:v>
                </c:pt>
                <c:pt idx="122">
                  <c:v>40238</c:v>
                </c:pt>
                <c:pt idx="123">
                  <c:v>40269</c:v>
                </c:pt>
                <c:pt idx="124">
                  <c:v>40299</c:v>
                </c:pt>
                <c:pt idx="125">
                  <c:v>40330</c:v>
                </c:pt>
                <c:pt idx="126">
                  <c:v>40360</c:v>
                </c:pt>
                <c:pt idx="127">
                  <c:v>40391</c:v>
                </c:pt>
                <c:pt idx="128">
                  <c:v>40422</c:v>
                </c:pt>
                <c:pt idx="129">
                  <c:v>40452</c:v>
                </c:pt>
                <c:pt idx="130">
                  <c:v>40483</c:v>
                </c:pt>
                <c:pt idx="131">
                  <c:v>40513</c:v>
                </c:pt>
                <c:pt idx="132">
                  <c:v>40544</c:v>
                </c:pt>
                <c:pt idx="133">
                  <c:v>40575</c:v>
                </c:pt>
                <c:pt idx="134">
                  <c:v>40603</c:v>
                </c:pt>
                <c:pt idx="135">
                  <c:v>40634</c:v>
                </c:pt>
                <c:pt idx="136">
                  <c:v>40664</c:v>
                </c:pt>
                <c:pt idx="137">
                  <c:v>40695</c:v>
                </c:pt>
                <c:pt idx="138">
                  <c:v>40725</c:v>
                </c:pt>
                <c:pt idx="139">
                  <c:v>40756</c:v>
                </c:pt>
                <c:pt idx="140">
                  <c:v>40787</c:v>
                </c:pt>
                <c:pt idx="141">
                  <c:v>40817</c:v>
                </c:pt>
                <c:pt idx="142">
                  <c:v>40848</c:v>
                </c:pt>
                <c:pt idx="143">
                  <c:v>40878</c:v>
                </c:pt>
                <c:pt idx="144">
                  <c:v>40909</c:v>
                </c:pt>
                <c:pt idx="145">
                  <c:v>40940</c:v>
                </c:pt>
                <c:pt idx="146">
                  <c:v>40969</c:v>
                </c:pt>
                <c:pt idx="147">
                  <c:v>41000</c:v>
                </c:pt>
                <c:pt idx="148">
                  <c:v>41030</c:v>
                </c:pt>
                <c:pt idx="149">
                  <c:v>41061</c:v>
                </c:pt>
                <c:pt idx="150">
                  <c:v>41091</c:v>
                </c:pt>
                <c:pt idx="151">
                  <c:v>41122</c:v>
                </c:pt>
                <c:pt idx="152">
                  <c:v>41153</c:v>
                </c:pt>
                <c:pt idx="153">
                  <c:v>41183</c:v>
                </c:pt>
                <c:pt idx="154">
                  <c:v>41214</c:v>
                </c:pt>
                <c:pt idx="155">
                  <c:v>41244</c:v>
                </c:pt>
                <c:pt idx="156">
                  <c:v>41275</c:v>
                </c:pt>
                <c:pt idx="157">
                  <c:v>41306</c:v>
                </c:pt>
                <c:pt idx="158">
                  <c:v>41334</c:v>
                </c:pt>
                <c:pt idx="159">
                  <c:v>41365</c:v>
                </c:pt>
                <c:pt idx="160">
                  <c:v>41395</c:v>
                </c:pt>
                <c:pt idx="161">
                  <c:v>41426</c:v>
                </c:pt>
                <c:pt idx="162">
                  <c:v>41456</c:v>
                </c:pt>
                <c:pt idx="163">
                  <c:v>41487</c:v>
                </c:pt>
                <c:pt idx="164">
                  <c:v>41518</c:v>
                </c:pt>
                <c:pt idx="165">
                  <c:v>41548</c:v>
                </c:pt>
                <c:pt idx="166">
                  <c:v>41579</c:v>
                </c:pt>
                <c:pt idx="167">
                  <c:v>41609</c:v>
                </c:pt>
                <c:pt idx="168">
                  <c:v>41640</c:v>
                </c:pt>
                <c:pt idx="169">
                  <c:v>41671</c:v>
                </c:pt>
                <c:pt idx="170">
                  <c:v>41699</c:v>
                </c:pt>
                <c:pt idx="171">
                  <c:v>41730</c:v>
                </c:pt>
                <c:pt idx="172">
                  <c:v>41760</c:v>
                </c:pt>
                <c:pt idx="173">
                  <c:v>41791</c:v>
                </c:pt>
                <c:pt idx="174">
                  <c:v>41821</c:v>
                </c:pt>
                <c:pt idx="175">
                  <c:v>41852</c:v>
                </c:pt>
                <c:pt idx="176">
                  <c:v>41883</c:v>
                </c:pt>
                <c:pt idx="177">
                  <c:v>41913</c:v>
                </c:pt>
                <c:pt idx="178">
                  <c:v>41944</c:v>
                </c:pt>
                <c:pt idx="179">
                  <c:v>41974</c:v>
                </c:pt>
                <c:pt idx="180">
                  <c:v>42005</c:v>
                </c:pt>
                <c:pt idx="181">
                  <c:v>42036</c:v>
                </c:pt>
                <c:pt idx="182">
                  <c:v>42064</c:v>
                </c:pt>
                <c:pt idx="183">
                  <c:v>42095</c:v>
                </c:pt>
                <c:pt idx="184">
                  <c:v>42125</c:v>
                </c:pt>
                <c:pt idx="185">
                  <c:v>42156</c:v>
                </c:pt>
                <c:pt idx="186">
                  <c:v>42186</c:v>
                </c:pt>
                <c:pt idx="187">
                  <c:v>42217</c:v>
                </c:pt>
                <c:pt idx="188">
                  <c:v>42248</c:v>
                </c:pt>
                <c:pt idx="189">
                  <c:v>42278</c:v>
                </c:pt>
                <c:pt idx="190">
                  <c:v>42309</c:v>
                </c:pt>
                <c:pt idx="191">
                  <c:v>42339</c:v>
                </c:pt>
                <c:pt idx="192">
                  <c:v>42370</c:v>
                </c:pt>
                <c:pt idx="193">
                  <c:v>42401</c:v>
                </c:pt>
                <c:pt idx="194">
                  <c:v>42430</c:v>
                </c:pt>
                <c:pt idx="195">
                  <c:v>42461</c:v>
                </c:pt>
                <c:pt idx="196">
                  <c:v>42491</c:v>
                </c:pt>
                <c:pt idx="197">
                  <c:v>42522</c:v>
                </c:pt>
                <c:pt idx="198">
                  <c:v>42552</c:v>
                </c:pt>
                <c:pt idx="199">
                  <c:v>42583</c:v>
                </c:pt>
                <c:pt idx="200">
                  <c:v>42614</c:v>
                </c:pt>
                <c:pt idx="201">
                  <c:v>42644</c:v>
                </c:pt>
                <c:pt idx="202">
                  <c:v>42675</c:v>
                </c:pt>
                <c:pt idx="203">
                  <c:v>42705</c:v>
                </c:pt>
                <c:pt idx="204">
                  <c:v>42736</c:v>
                </c:pt>
                <c:pt idx="205">
                  <c:v>42767</c:v>
                </c:pt>
                <c:pt idx="206">
                  <c:v>42795</c:v>
                </c:pt>
                <c:pt idx="207">
                  <c:v>42826</c:v>
                </c:pt>
                <c:pt idx="208">
                  <c:v>42856</c:v>
                </c:pt>
                <c:pt idx="209">
                  <c:v>42887</c:v>
                </c:pt>
                <c:pt idx="210">
                  <c:v>42917</c:v>
                </c:pt>
                <c:pt idx="211">
                  <c:v>42948</c:v>
                </c:pt>
                <c:pt idx="212">
                  <c:v>42979</c:v>
                </c:pt>
                <c:pt idx="213">
                  <c:v>43009</c:v>
                </c:pt>
                <c:pt idx="214">
                  <c:v>43040</c:v>
                </c:pt>
                <c:pt idx="215">
                  <c:v>43070</c:v>
                </c:pt>
                <c:pt idx="216">
                  <c:v>43101</c:v>
                </c:pt>
                <c:pt idx="217">
                  <c:v>43132</c:v>
                </c:pt>
                <c:pt idx="218">
                  <c:v>43160</c:v>
                </c:pt>
                <c:pt idx="219">
                  <c:v>43191</c:v>
                </c:pt>
                <c:pt idx="220">
                  <c:v>43221</c:v>
                </c:pt>
                <c:pt idx="221">
                  <c:v>43252</c:v>
                </c:pt>
                <c:pt idx="222">
                  <c:v>43282</c:v>
                </c:pt>
                <c:pt idx="223">
                  <c:v>43313</c:v>
                </c:pt>
                <c:pt idx="224">
                  <c:v>43344</c:v>
                </c:pt>
                <c:pt idx="225">
                  <c:v>43374</c:v>
                </c:pt>
                <c:pt idx="226">
                  <c:v>43405</c:v>
                </c:pt>
                <c:pt idx="227">
                  <c:v>43435</c:v>
                </c:pt>
                <c:pt idx="228">
                  <c:v>43466</c:v>
                </c:pt>
                <c:pt idx="229">
                  <c:v>43497</c:v>
                </c:pt>
                <c:pt idx="230">
                  <c:v>43525</c:v>
                </c:pt>
                <c:pt idx="231">
                  <c:v>43556</c:v>
                </c:pt>
                <c:pt idx="232">
                  <c:v>43586</c:v>
                </c:pt>
                <c:pt idx="233">
                  <c:v>43617</c:v>
                </c:pt>
                <c:pt idx="234">
                  <c:v>43647</c:v>
                </c:pt>
                <c:pt idx="235">
                  <c:v>43678</c:v>
                </c:pt>
                <c:pt idx="236">
                  <c:v>43709</c:v>
                </c:pt>
                <c:pt idx="237">
                  <c:v>43739</c:v>
                </c:pt>
                <c:pt idx="238">
                  <c:v>43770</c:v>
                </c:pt>
                <c:pt idx="239">
                  <c:v>43800</c:v>
                </c:pt>
                <c:pt idx="240">
                  <c:v>43831</c:v>
                </c:pt>
                <c:pt idx="241">
                  <c:v>43862</c:v>
                </c:pt>
                <c:pt idx="242">
                  <c:v>43891</c:v>
                </c:pt>
                <c:pt idx="243">
                  <c:v>43922</c:v>
                </c:pt>
                <c:pt idx="244">
                  <c:v>43952</c:v>
                </c:pt>
                <c:pt idx="245">
                  <c:v>43983</c:v>
                </c:pt>
                <c:pt idx="246">
                  <c:v>44013</c:v>
                </c:pt>
                <c:pt idx="247">
                  <c:v>44044</c:v>
                </c:pt>
                <c:pt idx="248">
                  <c:v>44075</c:v>
                </c:pt>
                <c:pt idx="249">
                  <c:v>44105</c:v>
                </c:pt>
                <c:pt idx="250">
                  <c:v>44136</c:v>
                </c:pt>
                <c:pt idx="251">
                  <c:v>44166</c:v>
                </c:pt>
                <c:pt idx="252">
                  <c:v>44197</c:v>
                </c:pt>
                <c:pt idx="253">
                  <c:v>44228</c:v>
                </c:pt>
                <c:pt idx="254">
                  <c:v>44256</c:v>
                </c:pt>
                <c:pt idx="255">
                  <c:v>44287</c:v>
                </c:pt>
                <c:pt idx="256">
                  <c:v>44317</c:v>
                </c:pt>
                <c:pt idx="257">
                  <c:v>44348</c:v>
                </c:pt>
                <c:pt idx="258">
                  <c:v>44378</c:v>
                </c:pt>
                <c:pt idx="259">
                  <c:v>44409</c:v>
                </c:pt>
                <c:pt idx="260">
                  <c:v>44440</c:v>
                </c:pt>
                <c:pt idx="261">
                  <c:v>44470</c:v>
                </c:pt>
                <c:pt idx="262">
                  <c:v>44501</c:v>
                </c:pt>
                <c:pt idx="263">
                  <c:v>44531</c:v>
                </c:pt>
                <c:pt idx="264">
                  <c:v>44562</c:v>
                </c:pt>
                <c:pt idx="265">
                  <c:v>44593</c:v>
                </c:pt>
                <c:pt idx="266">
                  <c:v>44621</c:v>
                </c:pt>
                <c:pt idx="267">
                  <c:v>44652</c:v>
                </c:pt>
                <c:pt idx="268">
                  <c:v>44682</c:v>
                </c:pt>
                <c:pt idx="269">
                  <c:v>44713</c:v>
                </c:pt>
                <c:pt idx="270">
                  <c:v>44743</c:v>
                </c:pt>
                <c:pt idx="271">
                  <c:v>44774</c:v>
                </c:pt>
                <c:pt idx="272">
                  <c:v>44805</c:v>
                </c:pt>
                <c:pt idx="273">
                  <c:v>44835</c:v>
                </c:pt>
                <c:pt idx="274">
                  <c:v>44866</c:v>
                </c:pt>
                <c:pt idx="275">
                  <c:v>44896</c:v>
                </c:pt>
                <c:pt idx="276">
                  <c:v>44927</c:v>
                </c:pt>
                <c:pt idx="277">
                  <c:v>44958</c:v>
                </c:pt>
                <c:pt idx="278">
                  <c:v>44986</c:v>
                </c:pt>
                <c:pt idx="279">
                  <c:v>45017</c:v>
                </c:pt>
                <c:pt idx="280">
                  <c:v>45047</c:v>
                </c:pt>
                <c:pt idx="281">
                  <c:v>45078</c:v>
                </c:pt>
                <c:pt idx="282">
                  <c:v>45108</c:v>
                </c:pt>
                <c:pt idx="283">
                  <c:v>45139</c:v>
                </c:pt>
                <c:pt idx="284">
                  <c:v>45170</c:v>
                </c:pt>
                <c:pt idx="285">
                  <c:v>45200</c:v>
                </c:pt>
                <c:pt idx="286">
                  <c:v>45231</c:v>
                </c:pt>
                <c:pt idx="287">
                  <c:v>45261</c:v>
                </c:pt>
                <c:pt idx="288">
                  <c:v>45292</c:v>
                </c:pt>
                <c:pt idx="289">
                  <c:v>45323</c:v>
                </c:pt>
                <c:pt idx="290">
                  <c:v>45352</c:v>
                </c:pt>
                <c:pt idx="291">
                  <c:v>45383</c:v>
                </c:pt>
                <c:pt idx="292">
                  <c:v>45413</c:v>
                </c:pt>
                <c:pt idx="293">
                  <c:v>45444</c:v>
                </c:pt>
                <c:pt idx="294">
                  <c:v>45474</c:v>
                </c:pt>
                <c:pt idx="295">
                  <c:v>45505</c:v>
                </c:pt>
                <c:pt idx="296">
                  <c:v>45536</c:v>
                </c:pt>
                <c:pt idx="297">
                  <c:v>45566</c:v>
                </c:pt>
                <c:pt idx="298">
                  <c:v>45597</c:v>
                </c:pt>
                <c:pt idx="299">
                  <c:v>45627</c:v>
                </c:pt>
                <c:pt idx="300">
                  <c:v>45658</c:v>
                </c:pt>
                <c:pt idx="301">
                  <c:v>45689</c:v>
                </c:pt>
                <c:pt idx="302">
                  <c:v>45717</c:v>
                </c:pt>
                <c:pt idx="303">
                  <c:v>45748</c:v>
                </c:pt>
                <c:pt idx="304">
                  <c:v>45778</c:v>
                </c:pt>
                <c:pt idx="305">
                  <c:v>45809</c:v>
                </c:pt>
                <c:pt idx="306">
                  <c:v>45839</c:v>
                </c:pt>
              </c:numCache>
            </c:numRef>
          </c:cat>
          <c:val>
            <c:numRef>
              <c:f>Sheet1!$C$2:$C$308</c:f>
              <c:numCache>
                <c:formatCode>General</c:formatCode>
                <c:ptCount val="307"/>
                <c:pt idx="283" formatCode="_(* #,##0_);_(* \(#,##0\);_(* &quot;-&quot;??_);_(@_)">
                  <c:v>7754380.2586189294</c:v>
                </c:pt>
                <c:pt idx="284" formatCode="_(* #,##0_);_(* \(#,##0\);_(* &quot;-&quot;??_);_(@_)">
                  <c:v>7751867.4203863451</c:v>
                </c:pt>
                <c:pt idx="285" formatCode="_(* #,##0_);_(* \(#,##0\);_(* &quot;-&quot;??_);_(@_)">
                  <c:v>7737977.7731000632</c:v>
                </c:pt>
                <c:pt idx="286" formatCode="_(* #,##0_);_(* \(#,##0\);_(* &quot;-&quot;??_);_(@_)">
                  <c:v>7730436.6372506423</c:v>
                </c:pt>
                <c:pt idx="287" formatCode="_(* #,##0_);_(* \(#,##0\);_(* &quot;-&quot;??_);_(@_)">
                  <c:v>7722798.4417506047</c:v>
                </c:pt>
                <c:pt idx="288" formatCode="_(* #,##0_);_(* \(#,##0\);_(* &quot;-&quot;??_);_(@_)">
                  <c:v>7705569.1254240004</c:v>
                </c:pt>
                <c:pt idx="289" formatCode="_(* #,##0_);_(* \(#,##0\);_(* &quot;-&quot;??_);_(@_)">
                  <c:v>7704857.3565046918</c:v>
                </c:pt>
                <c:pt idx="290" formatCode="_(* #,##0_);_(* \(#,##0\);_(* &quot;-&quot;??_);_(@_)">
                  <c:v>7711169.0738167241</c:v>
                </c:pt>
                <c:pt idx="291" formatCode="_(* #,##0_);_(* \(#,##0\);_(* &quot;-&quot;??_);_(@_)">
                  <c:v>7726547.5278000757</c:v>
                </c:pt>
                <c:pt idx="292" formatCode="_(* #,##0_);_(* \(#,##0\);_(* &quot;-&quot;??_);_(@_)">
                  <c:v>7745373.7797448216</c:v>
                </c:pt>
                <c:pt idx="293" formatCode="_(* #,##0_);_(* \(#,##0\);_(* &quot;-&quot;??_);_(@_)">
                  <c:v>7769691.0800909344</c:v>
                </c:pt>
                <c:pt idx="294" formatCode="_(* #,##0_);_(* \(#,##0\);_(* &quot;-&quot;??_);_(@_)">
                  <c:v>7806668.4644523058</c:v>
                </c:pt>
                <c:pt idx="295" formatCode="_(* #,##0_);_(* \(#,##0\);_(* &quot;-&quot;??_);_(@_)">
                  <c:v>7836591.0848907353</c:v>
                </c:pt>
                <c:pt idx="296" formatCode="_(* #,##0_);_(* \(#,##0\);_(* &quot;-&quot;??_);_(@_)">
                  <c:v>7866627.9770201128</c:v>
                </c:pt>
                <c:pt idx="297" formatCode="_(* #,##0_);_(* \(#,##0\);_(* &quot;-&quot;??_);_(@_)">
                  <c:v>7893470.3830790147</c:v>
                </c:pt>
                <c:pt idx="298" formatCode="_(* #,##0_);_(* \(#,##0\);_(* &quot;-&quot;??_);_(@_)">
                  <c:v>7926217.3869113587</c:v>
                </c:pt>
                <c:pt idx="299" formatCode="_(* #,##0_);_(* \(#,##0\);_(* &quot;-&quot;??_);_(@_)">
                  <c:v>7961560.2307557147</c:v>
                </c:pt>
                <c:pt idx="300" formatCode="_(* #,##0_);_(* \(#,##0\);_(* &quot;-&quot;??_);_(@_)">
                  <c:v>8018555.24057208</c:v>
                </c:pt>
                <c:pt idx="301" formatCode="_(* #,##0_);_(* \(#,##0\);_(* &quot;-&quot;??_);_(@_)">
                  <c:v>8044797.5199704692</c:v>
                </c:pt>
                <c:pt idx="302" formatCode="_(* #,##0_);_(* \(#,##0\);_(* &quot;-&quot;??_);_(@_)">
                  <c:v>8059343.3949108794</c:v>
                </c:pt>
                <c:pt idx="303" formatCode="_(* #,##0_);_(* \(#,##0\);_(* &quot;-&quot;??_);_(@_)">
                  <c:v>8053484.9375135982</c:v>
                </c:pt>
                <c:pt idx="304" formatCode="_(* #,##0_);_(* \(#,##0\);_(* &quot;-&quot;??_);_(@_)">
                  <c:v>8051168.9494478321</c:v>
                </c:pt>
                <c:pt idx="305" formatCode="_(* #,##0_);_(* \(#,##0\);_(* &quot;-&quot;??_);_(@_)">
                  <c:v>8043687.5028338674</c:v>
                </c:pt>
                <c:pt idx="306" formatCode="_(* #,##0_);_(* \(#,##0\);_(* &quot;-&quot;??_);_(@_)">
                  <c:v>8032378.0574328266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9C9B-E94B-90FA-12166EDDD7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75354928"/>
        <c:axId val="375355712"/>
      </c:lineChart>
      <c:dateAx>
        <c:axId val="375354928"/>
        <c:scaling>
          <c:orientation val="minMax"/>
        </c:scaling>
        <c:delete val="0"/>
        <c:axPos val="b"/>
        <c:minorGridlines>
          <c:spPr>
            <a:ln w="9525" cap="flat" cmpd="sng" algn="ctr">
              <a:solidFill>
                <a:schemeClr val="tx1">
                  <a:lumMod val="5000"/>
                  <a:lumOff val="95000"/>
                </a:schemeClr>
              </a:solidFill>
              <a:round/>
            </a:ln>
            <a:effectLst/>
          </c:spPr>
        </c:minorGridlines>
        <c:numFmt formatCode="yyyy" sourceLinked="0"/>
        <c:majorTickMark val="out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4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355712"/>
        <c:crosses val="autoZero"/>
        <c:auto val="1"/>
        <c:lblOffset val="100"/>
        <c:baseTimeUnit val="months"/>
        <c:majorUnit val="12"/>
        <c:majorTimeUnit val="months"/>
        <c:minorUnit val="12"/>
        <c:minorTimeUnit val="months"/>
      </c:dateAx>
      <c:valAx>
        <c:axId val="375355712"/>
        <c:scaling>
          <c:orientation val="minMax"/>
          <c:min val="30000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375354928"/>
        <c:crosses val="autoZero"/>
        <c:crossBetween val="between"/>
        <c:majorUnit val="1000000"/>
        <c:dispUnits>
          <c:builtInUnit val="millions"/>
          <c:dispUnitsLbl>
            <c:layout>
              <c:manualLayout>
                <c:xMode val="edge"/>
                <c:yMode val="edge"/>
                <c:x val="6.2256076686066416E-3"/>
                <c:y val="0.18055555555555555"/>
              </c:manualLayout>
            </c:layout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6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 sz="1400" dirty="0">
                      <a:solidFill>
                        <a:srgbClr val="000000"/>
                      </a:solidFill>
                    </a:rPr>
                    <a:t>Millions of loadings originated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6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 b="0"/>
      </a:pPr>
      <a:endParaRPr lang="en-US"/>
    </a:p>
  </c:txPr>
  <c:externalData r:id="rId3">
    <c:autoUpdate val="0"/>
  </c:externalData>
</c:chartSpace>
</file>

<file path=ppt/charts/chart3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1079331659629503"/>
          <c:y val="0.11054163039972757"/>
          <c:w val="0.79417665183156438"/>
          <c:h val="0.72873598138583284"/>
        </c:manualLayout>
      </c:layout>
      <c:barChart>
        <c:barDir val="col"/>
        <c:grouping val="clustered"/>
        <c:varyColors val="0"/>
        <c:ser>
          <c:idx val="3"/>
          <c:order val="3"/>
          <c:tx>
            <c:strRef>
              <c:f>Data_NA!$KT$3</c:f>
              <c:strCache>
                <c:ptCount val="1"/>
                <c:pt idx="0">
                  <c:v>Y/Y%</c:v>
                </c:pt>
              </c:strCache>
            </c:strRef>
          </c:tx>
          <c:spPr>
            <a:solidFill>
              <a:schemeClr val="bg1">
                <a:lumMod val="50000"/>
                <a:alpha val="50000"/>
              </a:schemeClr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Data_NA!$A$4:$A$56</c:f>
              <c:strCache>
                <c:ptCount val="40"/>
                <c:pt idx="0">
                  <c:v>Q1</c:v>
                </c:pt>
                <c:pt idx="13">
                  <c:v>Q2</c:v>
                </c:pt>
                <c:pt idx="26">
                  <c:v>Q3</c:v>
                </c:pt>
                <c:pt idx="39">
                  <c:v>Q4</c:v>
                </c:pt>
              </c:strCache>
            </c:strRef>
          </c:cat>
          <c:val>
            <c:numRef>
              <c:f>Data_NA!$KT$4:$KT$56</c:f>
              <c:numCache>
                <c:formatCode>0.0%</c:formatCode>
                <c:ptCount val="53"/>
                <c:pt idx="0">
                  <c:v>-9.7461176729733978E-2</c:v>
                </c:pt>
                <c:pt idx="1">
                  <c:v>-6.2288834587461039E-2</c:v>
                </c:pt>
                <c:pt idx="2">
                  <c:v>-6.9357119809901224E-2</c:v>
                </c:pt>
                <c:pt idx="3">
                  <c:v>-6.4553056678784748E-2</c:v>
                </c:pt>
                <c:pt idx="4">
                  <c:v>-4.0049394043178976E-2</c:v>
                </c:pt>
                <c:pt idx="5">
                  <c:v>-9.66726131784581E-2</c:v>
                </c:pt>
                <c:pt idx="6">
                  <c:v>-8.1147389618269616E-2</c:v>
                </c:pt>
                <c:pt idx="7">
                  <c:v>-9.1020504360122545E-2</c:v>
                </c:pt>
                <c:pt idx="8">
                  <c:v>-0.10350612216662436</c:v>
                </c:pt>
                <c:pt idx="9">
                  <c:v>-0.12177209805003675</c:v>
                </c:pt>
                <c:pt idx="10">
                  <c:v>-0.12820357414975414</c:v>
                </c:pt>
                <c:pt idx="11">
                  <c:v>-0.11359386074526134</c:v>
                </c:pt>
                <c:pt idx="12">
                  <c:v>-0.13341709595007745</c:v>
                </c:pt>
                <c:pt idx="13">
                  <c:v>-0.19344407323559798</c:v>
                </c:pt>
                <c:pt idx="14">
                  <c:v>-0.11603026729337951</c:v>
                </c:pt>
                <c:pt idx="15">
                  <c:v>-9.5874593917570139E-2</c:v>
                </c:pt>
                <c:pt idx="16">
                  <c:v>-0.10723852586040783</c:v>
                </c:pt>
                <c:pt idx="17">
                  <c:v>-0.12722687885670092</c:v>
                </c:pt>
                <c:pt idx="18">
                  <c:v>-0.12182190395450965</c:v>
                </c:pt>
                <c:pt idx="19">
                  <c:v>-9.3794643590206728E-2</c:v>
                </c:pt>
                <c:pt idx="20">
                  <c:v>-9.3827342610348974E-2</c:v>
                </c:pt>
                <c:pt idx="21">
                  <c:v>-8.8356729975227033E-2</c:v>
                </c:pt>
                <c:pt idx="22">
                  <c:v>-9.74294722639093E-2</c:v>
                </c:pt>
                <c:pt idx="23">
                  <c:v>-5.0465955101705484E-2</c:v>
                </c:pt>
                <c:pt idx="24">
                  <c:v>-5.3643840966789536E-2</c:v>
                </c:pt>
                <c:pt idx="25">
                  <c:v>-5.1939791031408E-2</c:v>
                </c:pt>
                <c:pt idx="26">
                  <c:v>-0.16411898698539862</c:v>
                </c:pt>
                <c:pt idx="27">
                  <c:v>-0.11678813694781032</c:v>
                </c:pt>
                <c:pt idx="28">
                  <c:v>-5.8999782549145285E-2</c:v>
                </c:pt>
                <c:pt idx="29">
                  <c:v>-6.8899111419085668E-2</c:v>
                </c:pt>
                <c:pt idx="30">
                  <c:v>-6.4923993281486014E-2</c:v>
                </c:pt>
                <c:pt idx="31">
                  <c:v>-7.6100860559068173E-2</c:v>
                </c:pt>
                <c:pt idx="32">
                  <c:v>-6.9214049705908165E-2</c:v>
                </c:pt>
                <c:pt idx="33">
                  <c:v>-9.0241655603888526E-2</c:v>
                </c:pt>
                <c:pt idx="34">
                  <c:v>-0.10092895905008037</c:v>
                </c:pt>
                <c:pt idx="35">
                  <c:v>-6.0089879340064045E-2</c:v>
                </c:pt>
                <c:pt idx="36">
                  <c:v>-1.0399512668576749E-2</c:v>
                </c:pt>
                <c:pt idx="37">
                  <c:v>-2.8224996871971664E-3</c:v>
                </c:pt>
                <c:pt idx="38">
                  <c:v>-1.481033228783124E-2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904D-43C4-AC21-3874159367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overlap val="100"/>
        <c:axId val="1932700799"/>
        <c:axId val="1932701631"/>
      </c:barChart>
      <c:lineChart>
        <c:grouping val="standard"/>
        <c:varyColors val="0"/>
        <c:ser>
          <c:idx val="0"/>
          <c:order val="0"/>
          <c:tx>
            <c:strRef>
              <c:f>Data_NA!$KQ$3</c:f>
              <c:strCache>
                <c:ptCount val="1"/>
                <c:pt idx="0">
                  <c:v>2023</c:v>
                </c:pt>
              </c:strCache>
            </c:strRef>
          </c:tx>
          <c:spPr>
            <a:ln w="44450" cap="rnd">
              <a:solidFill>
                <a:schemeClr val="accent1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bg1"/>
              </a:solidFill>
              <a:ln w="12700">
                <a:solidFill>
                  <a:schemeClr val="accent1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cat>
            <c:strRef>
              <c:f>Data_NA!$A$4:$A$56</c:f>
              <c:strCache>
                <c:ptCount val="40"/>
                <c:pt idx="0">
                  <c:v>Q1</c:v>
                </c:pt>
                <c:pt idx="13">
                  <c:v>Q2</c:v>
                </c:pt>
                <c:pt idx="26">
                  <c:v>Q3</c:v>
                </c:pt>
                <c:pt idx="39">
                  <c:v>Q4</c:v>
                </c:pt>
              </c:strCache>
            </c:strRef>
          </c:cat>
          <c:val>
            <c:numRef>
              <c:f>Data_NA!$KQ$4:$KQ$56</c:f>
              <c:numCache>
                <c:formatCode>#,##0</c:formatCode>
                <c:ptCount val="53"/>
                <c:pt idx="0">
                  <c:v>270425</c:v>
                </c:pt>
                <c:pt idx="1">
                  <c:v>318894</c:v>
                </c:pt>
                <c:pt idx="2">
                  <c:v>308617</c:v>
                </c:pt>
                <c:pt idx="3">
                  <c:v>316240</c:v>
                </c:pt>
                <c:pt idx="4">
                  <c:v>305511</c:v>
                </c:pt>
                <c:pt idx="5">
                  <c:v>316983</c:v>
                </c:pt>
                <c:pt idx="6">
                  <c:v>313473</c:v>
                </c:pt>
                <c:pt idx="7">
                  <c:v>308544</c:v>
                </c:pt>
                <c:pt idx="8">
                  <c:v>311026</c:v>
                </c:pt>
                <c:pt idx="9">
                  <c:v>305539</c:v>
                </c:pt>
                <c:pt idx="10">
                  <c:v>302067</c:v>
                </c:pt>
                <c:pt idx="11">
                  <c:v>311406</c:v>
                </c:pt>
                <c:pt idx="12">
                  <c:v>310371</c:v>
                </c:pt>
                <c:pt idx="13">
                  <c:v>293567</c:v>
                </c:pt>
                <c:pt idx="14">
                  <c:v>313316</c:v>
                </c:pt>
                <c:pt idx="15">
                  <c:v>323393</c:v>
                </c:pt>
                <c:pt idx="16">
                  <c:v>328946</c:v>
                </c:pt>
                <c:pt idx="17">
                  <c:v>320498</c:v>
                </c:pt>
                <c:pt idx="18">
                  <c:v>322157</c:v>
                </c:pt>
                <c:pt idx="19">
                  <c:v>331122</c:v>
                </c:pt>
                <c:pt idx="20">
                  <c:v>331719</c:v>
                </c:pt>
                <c:pt idx="21">
                  <c:v>302496</c:v>
                </c:pt>
                <c:pt idx="22">
                  <c:v>327773</c:v>
                </c:pt>
                <c:pt idx="23">
                  <c:v>335120</c:v>
                </c:pt>
                <c:pt idx="24">
                  <c:v>329525</c:v>
                </c:pt>
                <c:pt idx="25">
                  <c:v>332370</c:v>
                </c:pt>
                <c:pt idx="26">
                  <c:v>261273</c:v>
                </c:pt>
                <c:pt idx="27">
                  <c:v>314956</c:v>
                </c:pt>
                <c:pt idx="28">
                  <c:v>333211</c:v>
                </c:pt>
                <c:pt idx="29">
                  <c:v>334579</c:v>
                </c:pt>
                <c:pt idx="30">
                  <c:v>331246</c:v>
                </c:pt>
                <c:pt idx="31">
                  <c:v>328630</c:v>
                </c:pt>
                <c:pt idx="32">
                  <c:v>329313</c:v>
                </c:pt>
                <c:pt idx="33">
                  <c:v>326888</c:v>
                </c:pt>
                <c:pt idx="34">
                  <c:v>327706</c:v>
                </c:pt>
                <c:pt idx="35">
                  <c:v>305358</c:v>
                </c:pt>
                <c:pt idx="36">
                  <c:v>339525</c:v>
                </c:pt>
                <c:pt idx="37">
                  <c:v>342697</c:v>
                </c:pt>
                <c:pt idx="38">
                  <c:v>346771</c:v>
                </c:pt>
                <c:pt idx="39">
                  <c:v>#N/A</c:v>
                </c:pt>
                <c:pt idx="40">
                  <c:v>#N/A</c:v>
                </c:pt>
                <c:pt idx="41">
                  <c:v>#N/A</c:v>
                </c:pt>
                <c:pt idx="42">
                  <c:v>#N/A</c:v>
                </c:pt>
                <c:pt idx="43">
                  <c:v>#N/A</c:v>
                </c:pt>
                <c:pt idx="44">
                  <c:v>#N/A</c:v>
                </c:pt>
                <c:pt idx="45">
                  <c:v>#N/A</c:v>
                </c:pt>
                <c:pt idx="46">
                  <c:v>#N/A</c:v>
                </c:pt>
                <c:pt idx="47">
                  <c:v>#N/A</c:v>
                </c:pt>
                <c:pt idx="48">
                  <c:v>#N/A</c:v>
                </c:pt>
                <c:pt idx="49">
                  <c:v>#N/A</c:v>
                </c:pt>
                <c:pt idx="50">
                  <c:v>#N/A</c:v>
                </c:pt>
                <c:pt idx="51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904D-43C4-AC21-387415936793}"/>
            </c:ext>
          </c:extLst>
        </c:ser>
        <c:ser>
          <c:idx val="1"/>
          <c:order val="1"/>
          <c:tx>
            <c:strRef>
              <c:f>Data_NA!$KR$3</c:f>
              <c:strCache>
                <c:ptCount val="1"/>
                <c:pt idx="0">
                  <c:v>2022</c:v>
                </c:pt>
              </c:strCache>
            </c:strRef>
          </c:tx>
          <c:spPr>
            <a:ln w="28575" cap="rnd">
              <a:solidFill>
                <a:srgbClr val="00B050">
                  <a:alpha val="80000"/>
                </a:srgbClr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Data_NA!$A$4:$A$56</c:f>
              <c:strCache>
                <c:ptCount val="40"/>
                <c:pt idx="0">
                  <c:v>Q1</c:v>
                </c:pt>
                <c:pt idx="13">
                  <c:v>Q2</c:v>
                </c:pt>
                <c:pt idx="26">
                  <c:v>Q3</c:v>
                </c:pt>
                <c:pt idx="39">
                  <c:v>Q4</c:v>
                </c:pt>
              </c:strCache>
            </c:strRef>
          </c:cat>
          <c:val>
            <c:numRef>
              <c:f>Data_NA!$KR$4:$KR$56</c:f>
              <c:numCache>
                <c:formatCode>#,##0</c:formatCode>
                <c:ptCount val="53"/>
                <c:pt idx="0">
                  <c:v>299627</c:v>
                </c:pt>
                <c:pt idx="1">
                  <c:v>340077</c:v>
                </c:pt>
                <c:pt idx="2">
                  <c:v>331617</c:v>
                </c:pt>
                <c:pt idx="3">
                  <c:v>338063</c:v>
                </c:pt>
                <c:pt idx="4">
                  <c:v>318257</c:v>
                </c:pt>
                <c:pt idx="5">
                  <c:v>350906</c:v>
                </c:pt>
                <c:pt idx="6">
                  <c:v>341157</c:v>
                </c:pt>
                <c:pt idx="7">
                  <c:v>339440</c:v>
                </c:pt>
                <c:pt idx="8">
                  <c:v>346936</c:v>
                </c:pt>
                <c:pt idx="9">
                  <c:v>347904</c:v>
                </c:pt>
                <c:pt idx="10">
                  <c:v>346488</c:v>
                </c:pt>
                <c:pt idx="11">
                  <c:v>351313</c:v>
                </c:pt>
                <c:pt idx="12">
                  <c:v>358155</c:v>
                </c:pt>
                <c:pt idx="13">
                  <c:v>363976</c:v>
                </c:pt>
                <c:pt idx="14">
                  <c:v>354442</c:v>
                </c:pt>
                <c:pt idx="15">
                  <c:v>357686</c:v>
                </c:pt>
                <c:pt idx="16">
                  <c:v>368459</c:v>
                </c:pt>
                <c:pt idx="17">
                  <c:v>367218</c:v>
                </c:pt>
                <c:pt idx="18">
                  <c:v>366847</c:v>
                </c:pt>
                <c:pt idx="19">
                  <c:v>365394</c:v>
                </c:pt>
                <c:pt idx="20">
                  <c:v>366066</c:v>
                </c:pt>
                <c:pt idx="21">
                  <c:v>331814</c:v>
                </c:pt>
                <c:pt idx="22">
                  <c:v>363155</c:v>
                </c:pt>
                <c:pt idx="23">
                  <c:v>352931</c:v>
                </c:pt>
                <c:pt idx="24">
                  <c:v>348204</c:v>
                </c:pt>
                <c:pt idx="25">
                  <c:v>350579</c:v>
                </c:pt>
                <c:pt idx="26">
                  <c:v>312572</c:v>
                </c:pt>
                <c:pt idx="27">
                  <c:v>356603</c:v>
                </c:pt>
                <c:pt idx="28">
                  <c:v>354103</c:v>
                </c:pt>
                <c:pt idx="29">
                  <c:v>359337</c:v>
                </c:pt>
                <c:pt idx="30">
                  <c:v>354245</c:v>
                </c:pt>
                <c:pt idx="31">
                  <c:v>355699</c:v>
                </c:pt>
                <c:pt idx="32">
                  <c:v>353801</c:v>
                </c:pt>
                <c:pt idx="33">
                  <c:v>359313</c:v>
                </c:pt>
                <c:pt idx="34">
                  <c:v>364494</c:v>
                </c:pt>
                <c:pt idx="35">
                  <c:v>324880</c:v>
                </c:pt>
                <c:pt idx="36">
                  <c:v>343093</c:v>
                </c:pt>
                <c:pt idx="37">
                  <c:v>343667</c:v>
                </c:pt>
                <c:pt idx="38">
                  <c:v>351984</c:v>
                </c:pt>
                <c:pt idx="39">
                  <c:v>355186</c:v>
                </c:pt>
                <c:pt idx="40">
                  <c:v>352570</c:v>
                </c:pt>
                <c:pt idx="41">
                  <c:v>355796</c:v>
                </c:pt>
                <c:pt idx="42">
                  <c:v>356271</c:v>
                </c:pt>
                <c:pt idx="43">
                  <c:v>341161</c:v>
                </c:pt>
                <c:pt idx="44">
                  <c:v>335157</c:v>
                </c:pt>
                <c:pt idx="45">
                  <c:v>337298</c:v>
                </c:pt>
                <c:pt idx="46">
                  <c:v>282777</c:v>
                </c:pt>
                <c:pt idx="47">
                  <c:v>333642</c:v>
                </c:pt>
                <c:pt idx="48">
                  <c:v>339952</c:v>
                </c:pt>
                <c:pt idx="49">
                  <c:v>330557</c:v>
                </c:pt>
                <c:pt idx="50">
                  <c:v>269533</c:v>
                </c:pt>
                <c:pt idx="51">
                  <c:v>24513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904D-43C4-AC21-387415936793}"/>
            </c:ext>
          </c:extLst>
        </c:ser>
        <c:ser>
          <c:idx val="2"/>
          <c:order val="2"/>
          <c:tx>
            <c:strRef>
              <c:f>Data_NA!$KS$3</c:f>
              <c:strCache>
                <c:ptCount val="1"/>
                <c:pt idx="0">
                  <c:v>5-Yr Avg</c:v>
                </c:pt>
              </c:strCache>
            </c:strRef>
          </c:tx>
          <c:spPr>
            <a:ln w="28575" cap="rnd">
              <a:solidFill>
                <a:sysClr val="windowText" lastClr="000000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Data_NA!$A$4:$A$56</c:f>
              <c:strCache>
                <c:ptCount val="40"/>
                <c:pt idx="0">
                  <c:v>Q1</c:v>
                </c:pt>
                <c:pt idx="13">
                  <c:v>Q2</c:v>
                </c:pt>
                <c:pt idx="26">
                  <c:v>Q3</c:v>
                </c:pt>
                <c:pt idx="39">
                  <c:v>Q4</c:v>
                </c:pt>
              </c:strCache>
            </c:strRef>
          </c:cat>
          <c:val>
            <c:numRef>
              <c:f>Data_NA!$KS$4:$KS$56</c:f>
              <c:numCache>
                <c:formatCode>#,##0</c:formatCode>
                <c:ptCount val="53"/>
                <c:pt idx="0">
                  <c:v>299743</c:v>
                </c:pt>
                <c:pt idx="1">
                  <c:v>361785.59999999998</c:v>
                </c:pt>
                <c:pt idx="2">
                  <c:v>357356</c:v>
                </c:pt>
                <c:pt idx="3">
                  <c:v>355314</c:v>
                </c:pt>
                <c:pt idx="4">
                  <c:v>346951</c:v>
                </c:pt>
                <c:pt idx="5">
                  <c:v>347535.4</c:v>
                </c:pt>
                <c:pt idx="6">
                  <c:v>334087.40000000002</c:v>
                </c:pt>
                <c:pt idx="7">
                  <c:v>347530.4</c:v>
                </c:pt>
                <c:pt idx="8">
                  <c:v>354458</c:v>
                </c:pt>
                <c:pt idx="9">
                  <c:v>352968.4</c:v>
                </c:pt>
                <c:pt idx="10">
                  <c:v>347691.2</c:v>
                </c:pt>
                <c:pt idx="11">
                  <c:v>348558.6</c:v>
                </c:pt>
                <c:pt idx="12">
                  <c:v>349724.6</c:v>
                </c:pt>
                <c:pt idx="13">
                  <c:v>345916.2</c:v>
                </c:pt>
                <c:pt idx="14">
                  <c:v>349726</c:v>
                </c:pt>
                <c:pt idx="15">
                  <c:v>348010.2</c:v>
                </c:pt>
                <c:pt idx="16">
                  <c:v>356912.2</c:v>
                </c:pt>
                <c:pt idx="17">
                  <c:v>355847.4</c:v>
                </c:pt>
                <c:pt idx="18">
                  <c:v>358122</c:v>
                </c:pt>
                <c:pt idx="19">
                  <c:v>357178</c:v>
                </c:pt>
                <c:pt idx="20">
                  <c:v>356825.59999999998</c:v>
                </c:pt>
                <c:pt idx="21">
                  <c:v>328301.8</c:v>
                </c:pt>
                <c:pt idx="22">
                  <c:v>358626.6</c:v>
                </c:pt>
                <c:pt idx="23">
                  <c:v>357701.6</c:v>
                </c:pt>
                <c:pt idx="24">
                  <c:v>356914.4</c:v>
                </c:pt>
                <c:pt idx="25">
                  <c:v>357249.4</c:v>
                </c:pt>
                <c:pt idx="26">
                  <c:v>316472.40000000002</c:v>
                </c:pt>
                <c:pt idx="27">
                  <c:v>355046.6</c:v>
                </c:pt>
                <c:pt idx="28">
                  <c:v>360102.8</c:v>
                </c:pt>
                <c:pt idx="29">
                  <c:v>362305</c:v>
                </c:pt>
                <c:pt idx="30">
                  <c:v>363670.8</c:v>
                </c:pt>
                <c:pt idx="31">
                  <c:v>363340.79999999999</c:v>
                </c:pt>
                <c:pt idx="32">
                  <c:v>365939.4</c:v>
                </c:pt>
                <c:pt idx="33">
                  <c:v>366665</c:v>
                </c:pt>
                <c:pt idx="34">
                  <c:v>366836.4</c:v>
                </c:pt>
                <c:pt idx="35">
                  <c:v>333554.59999999998</c:v>
                </c:pt>
                <c:pt idx="36">
                  <c:v>359187.8</c:v>
                </c:pt>
                <c:pt idx="37">
                  <c:v>368688.6</c:v>
                </c:pt>
                <c:pt idx="38">
                  <c:v>372077.6</c:v>
                </c:pt>
                <c:pt idx="39">
                  <c:v>365544.4</c:v>
                </c:pt>
                <c:pt idx="40">
                  <c:v>364791.2</c:v>
                </c:pt>
                <c:pt idx="41">
                  <c:v>366375.8</c:v>
                </c:pt>
                <c:pt idx="42">
                  <c:v>370883.6</c:v>
                </c:pt>
                <c:pt idx="43">
                  <c:v>364675.6</c:v>
                </c:pt>
                <c:pt idx="44">
                  <c:v>360884</c:v>
                </c:pt>
                <c:pt idx="45">
                  <c:v>356054.6</c:v>
                </c:pt>
                <c:pt idx="46">
                  <c:v>327194.8</c:v>
                </c:pt>
                <c:pt idx="47">
                  <c:v>340632.2</c:v>
                </c:pt>
                <c:pt idx="48">
                  <c:v>365973</c:v>
                </c:pt>
                <c:pt idx="49">
                  <c:v>367264.2</c:v>
                </c:pt>
                <c:pt idx="50">
                  <c:v>332399.59999999998</c:v>
                </c:pt>
                <c:pt idx="51">
                  <c:v>258563.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04D-43C4-AC21-38741593679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561874863"/>
        <c:axId val="1561874447"/>
      </c:lineChart>
      <c:catAx>
        <c:axId val="1932700799"/>
        <c:scaling>
          <c:orientation val="minMax"/>
        </c:scaling>
        <c:delete val="0"/>
        <c:axPos val="b"/>
        <c:majorGridlines>
          <c:spPr>
            <a:ln w="9525" cap="flat" cmpd="sng" algn="ctr">
              <a:noFill/>
              <a:round/>
            </a:ln>
            <a:effectLst/>
          </c:spPr>
        </c:majorGridlines>
        <c:numFmt formatCode="General" sourceLinked="1"/>
        <c:majorTickMark val="cross"/>
        <c:minorTickMark val="none"/>
        <c:tickLblPos val="low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2701631"/>
        <c:crosses val="autoZero"/>
        <c:auto val="1"/>
        <c:lblAlgn val="ctr"/>
        <c:lblOffset val="50"/>
        <c:tickMarkSkip val="13"/>
        <c:noMultiLvlLbl val="0"/>
      </c:catAx>
      <c:valAx>
        <c:axId val="1932701631"/>
        <c:scaling>
          <c:orientation val="minMax"/>
          <c:max val="0.1"/>
        </c:scaling>
        <c:delete val="0"/>
        <c:axPos val="l"/>
        <c:majorGridlines>
          <c:spPr>
            <a:ln w="9525" cap="flat" cmpd="sng" algn="ctr">
              <a:solidFill>
                <a:srgbClr val="E7E6E6">
                  <a:lumMod val="90000"/>
                </a:srgb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1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i="0" dirty="0">
                    <a:solidFill>
                      <a:schemeClr val="tx1"/>
                    </a:solidFill>
                  </a:rPr>
                  <a:t>Y/Y Change (bar)</a:t>
                </a:r>
              </a:p>
            </c:rich>
          </c:tx>
          <c:layout>
            <c:manualLayout>
              <c:xMode val="edge"/>
              <c:yMode val="edge"/>
              <c:x val="8.6728289398607279E-5"/>
              <c:y val="0.3798053368328959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1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932700799"/>
        <c:crosses val="autoZero"/>
        <c:crossBetween val="between"/>
      </c:valAx>
      <c:valAx>
        <c:axId val="1561874447"/>
        <c:scaling>
          <c:orientation val="minMax"/>
          <c:min val="225000"/>
        </c:scaling>
        <c:delete val="0"/>
        <c:axPos val="r"/>
        <c:title>
          <c:tx>
            <c:rich>
              <a:bodyPr rot="5400000" spcFirstLastPara="1" vertOverflow="ellipsis" wrap="square" anchor="ctr" anchorCtr="1"/>
              <a:lstStyle/>
              <a:p>
                <a:pPr>
                  <a:defRPr sz="1000" b="0" i="1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 i="0" dirty="0">
                    <a:solidFill>
                      <a:schemeClr val="tx1"/>
                    </a:solidFill>
                  </a:rPr>
                  <a:t>Weekly Carloads (000s)</a:t>
                </a:r>
              </a:p>
            </c:rich>
          </c:tx>
          <c:layout>
            <c:manualLayout>
              <c:xMode val="edge"/>
              <c:yMode val="edge"/>
              <c:x val="0.97393643729316448"/>
              <c:y val="0.31996522309711284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5400000" spcFirstLastPara="1" vertOverflow="ellipsis" wrap="square" anchor="ctr" anchorCtr="1"/>
            <a:lstStyle/>
            <a:p>
              <a:pPr>
                <a:defRPr sz="1000" b="0" i="1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1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561874863"/>
        <c:crosses val="max"/>
        <c:crossBetween val="between"/>
        <c:majorUnit val="25000"/>
        <c:dispUnits>
          <c:builtInUnit val="thousands"/>
        </c:dispUnits>
      </c:valAx>
      <c:catAx>
        <c:axId val="1561874863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561874447"/>
        <c:crosses val="autoZero"/>
        <c:auto val="1"/>
        <c:lblAlgn val="ctr"/>
        <c:lblOffset val="100"/>
        <c:noMultiLvlLbl val="0"/>
      </c:catAx>
      <c:spPr>
        <a:noFill/>
        <a:ln>
          <a:solidFill>
            <a:srgbClr val="7F7F7F"/>
          </a:solidFill>
        </a:ln>
        <a:effectLst/>
      </c:spPr>
    </c:plotArea>
    <c:legend>
      <c:legendPos val="b"/>
      <c:legendEntry>
        <c:idx val="0"/>
        <c:delete val="1"/>
      </c:legendEntry>
      <c:layout>
        <c:manualLayout>
          <c:xMode val="edge"/>
          <c:yMode val="edge"/>
          <c:x val="0.1093972764274031"/>
          <c:y val="0.75329811898512689"/>
          <c:w val="0.30860569059302367"/>
          <c:h val="8.2812992125984253E-2"/>
        </c:manualLayout>
      </c:layout>
      <c:overlay val="0"/>
      <c:spPr>
        <a:solidFill>
          <a:sysClr val="window" lastClr="FFFFFF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  <c:userShapes r:id="rId5"/>
</c:chartSpace>
</file>

<file path=ppt/charts/chart3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Loaded twenty-foot equivalents</a:t>
            </a:r>
          </a:p>
        </c:rich>
      </c:tx>
      <c:layout>
        <c:manualLayout>
          <c:xMode val="edge"/>
          <c:yMode val="edge"/>
          <c:x val="0.1090716233866924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917522134669737"/>
          <c:y val="7.9552342202577828E-2"/>
          <c:w val="0.85786264756050112"/>
          <c:h val="0.75738940209492978"/>
        </c:manualLayout>
      </c:layout>
      <c:lineChart>
        <c:grouping val="standard"/>
        <c:varyColors val="0"/>
        <c:ser>
          <c:idx val="0"/>
          <c:order val="0"/>
          <c:tx>
            <c:strRef>
              <c:f>'Import share'!$B$1</c:f>
              <c:strCache>
                <c:ptCount val="1"/>
                <c:pt idx="0">
                  <c:v> West Coast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Import share'!$A$26:$A$190</c:f>
              <c:strCache>
                <c:ptCount val="164"/>
                <c:pt idx="0">
                  <c:v>2010</c:v>
                </c:pt>
                <c:pt idx="1">
                  <c:v>10-Feb</c:v>
                </c:pt>
                <c:pt idx="2">
                  <c:v>10-Mar</c:v>
                </c:pt>
                <c:pt idx="3">
                  <c:v>10-Apr</c:v>
                </c:pt>
                <c:pt idx="4">
                  <c:v>10-May</c:v>
                </c:pt>
                <c:pt idx="5">
                  <c:v>10-Jun</c:v>
                </c:pt>
                <c:pt idx="6">
                  <c:v>10-Jul</c:v>
                </c:pt>
                <c:pt idx="7">
                  <c:v>10-Aug</c:v>
                </c:pt>
                <c:pt idx="8">
                  <c:v>10-Sep</c:v>
                </c:pt>
                <c:pt idx="9">
                  <c:v>10-Oct</c:v>
                </c:pt>
                <c:pt idx="10">
                  <c:v>10-Nov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</c:strCache>
            </c:strRef>
          </c:cat>
          <c:val>
            <c:numRef>
              <c:f>'Import share'!$B$26:$B$190</c:f>
              <c:numCache>
                <c:formatCode>#,##0</c:formatCode>
                <c:ptCount val="165"/>
                <c:pt idx="0">
                  <c:v>679106</c:v>
                </c:pt>
                <c:pt idx="1">
                  <c:v>626489</c:v>
                </c:pt>
                <c:pt idx="2">
                  <c:v>638220</c:v>
                </c:pt>
                <c:pt idx="3">
                  <c:v>708520</c:v>
                </c:pt>
                <c:pt idx="4">
                  <c:v>805822</c:v>
                </c:pt>
                <c:pt idx="5">
                  <c:v>854874</c:v>
                </c:pt>
                <c:pt idx="6">
                  <c:v>878710</c:v>
                </c:pt>
                <c:pt idx="7">
                  <c:v>922708</c:v>
                </c:pt>
                <c:pt idx="8">
                  <c:v>872572</c:v>
                </c:pt>
                <c:pt idx="9">
                  <c:v>850979</c:v>
                </c:pt>
                <c:pt idx="10">
                  <c:v>792349</c:v>
                </c:pt>
                <c:pt idx="11">
                  <c:v>734203</c:v>
                </c:pt>
                <c:pt idx="12">
                  <c:v>763280</c:v>
                </c:pt>
                <c:pt idx="13">
                  <c:v>668480</c:v>
                </c:pt>
                <c:pt idx="14">
                  <c:v>650532</c:v>
                </c:pt>
                <c:pt idx="15">
                  <c:v>754491</c:v>
                </c:pt>
                <c:pt idx="16">
                  <c:v>808387</c:v>
                </c:pt>
                <c:pt idx="17">
                  <c:v>782975</c:v>
                </c:pt>
                <c:pt idx="18">
                  <c:v>832782</c:v>
                </c:pt>
                <c:pt idx="19">
                  <c:v>833134</c:v>
                </c:pt>
                <c:pt idx="20">
                  <c:v>824653</c:v>
                </c:pt>
                <c:pt idx="21">
                  <c:v>792978</c:v>
                </c:pt>
                <c:pt idx="22">
                  <c:v>779057</c:v>
                </c:pt>
                <c:pt idx="23">
                  <c:v>737304</c:v>
                </c:pt>
                <c:pt idx="24">
                  <c:v>775499</c:v>
                </c:pt>
                <c:pt idx="25">
                  <c:v>584797</c:v>
                </c:pt>
                <c:pt idx="26">
                  <c:v>725935</c:v>
                </c:pt>
                <c:pt idx="27">
                  <c:v>778178</c:v>
                </c:pt>
                <c:pt idx="28">
                  <c:v>812348</c:v>
                </c:pt>
                <c:pt idx="29">
                  <c:v>835617</c:v>
                </c:pt>
                <c:pt idx="30">
                  <c:v>822706</c:v>
                </c:pt>
                <c:pt idx="31">
                  <c:v>822848</c:v>
                </c:pt>
                <c:pt idx="32">
                  <c:v>846607</c:v>
                </c:pt>
                <c:pt idx="33">
                  <c:v>841572</c:v>
                </c:pt>
                <c:pt idx="34">
                  <c:v>743398</c:v>
                </c:pt>
                <c:pt idx="35">
                  <c:v>779327</c:v>
                </c:pt>
                <c:pt idx="36">
                  <c:v>799350</c:v>
                </c:pt>
                <c:pt idx="37">
                  <c:v>776712</c:v>
                </c:pt>
                <c:pt idx="38">
                  <c:v>611868</c:v>
                </c:pt>
                <c:pt idx="39">
                  <c:v>763430</c:v>
                </c:pt>
                <c:pt idx="40">
                  <c:v>809844</c:v>
                </c:pt>
                <c:pt idx="41">
                  <c:v>809326</c:v>
                </c:pt>
                <c:pt idx="42">
                  <c:v>852534</c:v>
                </c:pt>
                <c:pt idx="43">
                  <c:v>864884</c:v>
                </c:pt>
                <c:pt idx="44">
                  <c:v>869523</c:v>
                </c:pt>
                <c:pt idx="45">
                  <c:v>814115</c:v>
                </c:pt>
                <c:pt idx="46">
                  <c:v>807660</c:v>
                </c:pt>
                <c:pt idx="47">
                  <c:v>777370</c:v>
                </c:pt>
                <c:pt idx="48">
                  <c:v>820714</c:v>
                </c:pt>
                <c:pt idx="49">
                  <c:v>710651</c:v>
                </c:pt>
                <c:pt idx="50">
                  <c:v>709814</c:v>
                </c:pt>
                <c:pt idx="51">
                  <c:v>838964</c:v>
                </c:pt>
                <c:pt idx="52">
                  <c:v>855047</c:v>
                </c:pt>
                <c:pt idx="53">
                  <c:v>890577</c:v>
                </c:pt>
                <c:pt idx="54">
                  <c:v>833501</c:v>
                </c:pt>
                <c:pt idx="55">
                  <c:v>849212</c:v>
                </c:pt>
                <c:pt idx="56">
                  <c:v>954028</c:v>
                </c:pt>
                <c:pt idx="57">
                  <c:v>872242</c:v>
                </c:pt>
                <c:pt idx="58">
                  <c:v>783794</c:v>
                </c:pt>
                <c:pt idx="59">
                  <c:v>808868</c:v>
                </c:pt>
                <c:pt idx="60">
                  <c:v>602850</c:v>
                </c:pt>
                <c:pt idx="61">
                  <c:v>582159</c:v>
                </c:pt>
                <c:pt idx="62">
                  <c:v>983748</c:v>
                </c:pt>
                <c:pt idx="63">
                  <c:v>817884</c:v>
                </c:pt>
                <c:pt idx="64">
                  <c:v>860679</c:v>
                </c:pt>
                <c:pt idx="65">
                  <c:v>865427</c:v>
                </c:pt>
                <c:pt idx="66">
                  <c:v>875703</c:v>
                </c:pt>
                <c:pt idx="67">
                  <c:v>962981</c:v>
                </c:pt>
                <c:pt idx="68">
                  <c:v>912112</c:v>
                </c:pt>
                <c:pt idx="69">
                  <c:v>843543</c:v>
                </c:pt>
                <c:pt idx="70">
                  <c:v>842888</c:v>
                </c:pt>
                <c:pt idx="71">
                  <c:v>795941</c:v>
                </c:pt>
                <c:pt idx="72">
                  <c:v>831779</c:v>
                </c:pt>
                <c:pt idx="73">
                  <c:v>846484</c:v>
                </c:pt>
                <c:pt idx="74">
                  <c:v>646879</c:v>
                </c:pt>
                <c:pt idx="75">
                  <c:v>767639</c:v>
                </c:pt>
                <c:pt idx="76">
                  <c:v>917804</c:v>
                </c:pt>
                <c:pt idx="77">
                  <c:v>874188</c:v>
                </c:pt>
                <c:pt idx="78">
                  <c:v>886552</c:v>
                </c:pt>
                <c:pt idx="79">
                  <c:v>929902</c:v>
                </c:pt>
                <c:pt idx="80">
                  <c:v>879977</c:v>
                </c:pt>
                <c:pt idx="81">
                  <c:v>903773</c:v>
                </c:pt>
                <c:pt idx="82">
                  <c:v>914354</c:v>
                </c:pt>
                <c:pt idx="83">
                  <c:v>863296</c:v>
                </c:pt>
                <c:pt idx="84">
                  <c:v>923749</c:v>
                </c:pt>
                <c:pt idx="85">
                  <c:v>715538</c:v>
                </c:pt>
                <c:pt idx="86">
                  <c:v>810619</c:v>
                </c:pt>
                <c:pt idx="87">
                  <c:v>846061</c:v>
                </c:pt>
                <c:pt idx="88">
                  <c:v>948016</c:v>
                </c:pt>
                <c:pt idx="89">
                  <c:v>903642</c:v>
                </c:pt>
                <c:pt idx="90">
                  <c:v>989929</c:v>
                </c:pt>
                <c:pt idx="91">
                  <c:v>985709</c:v>
                </c:pt>
                <c:pt idx="92">
                  <c:v>950693</c:v>
                </c:pt>
                <c:pt idx="93">
                  <c:v>909088</c:v>
                </c:pt>
                <c:pt idx="94">
                  <c:v>968683</c:v>
                </c:pt>
                <c:pt idx="95">
                  <c:v>927660</c:v>
                </c:pt>
                <c:pt idx="96">
                  <c:v>919308</c:v>
                </c:pt>
                <c:pt idx="97">
                  <c:v>913222</c:v>
                </c:pt>
                <c:pt idx="98">
                  <c:v>703113</c:v>
                </c:pt>
                <c:pt idx="99">
                  <c:v>849921</c:v>
                </c:pt>
                <c:pt idx="100">
                  <c:v>967558</c:v>
                </c:pt>
                <c:pt idx="101">
                  <c:v>984872</c:v>
                </c:pt>
                <c:pt idx="102">
                  <c:v>1000969</c:v>
                </c:pt>
                <c:pt idx="103">
                  <c:v>964623</c:v>
                </c:pt>
                <c:pt idx="104">
                  <c:v>1005072</c:v>
                </c:pt>
                <c:pt idx="105">
                  <c:v>1066777</c:v>
                </c:pt>
                <c:pt idx="106">
                  <c:v>942643</c:v>
                </c:pt>
                <c:pt idx="107">
                  <c:v>1067934</c:v>
                </c:pt>
                <c:pt idx="108">
                  <c:v>964271</c:v>
                </c:pt>
                <c:pt idx="109">
                  <c:v>820828</c:v>
                </c:pt>
                <c:pt idx="110">
                  <c:v>735948</c:v>
                </c:pt>
                <c:pt idx="111">
                  <c:v>871984</c:v>
                </c:pt>
                <c:pt idx="112">
                  <c:v>916052</c:v>
                </c:pt>
                <c:pt idx="113">
                  <c:v>931465</c:v>
                </c:pt>
                <c:pt idx="114">
                  <c:v>1003333</c:v>
                </c:pt>
                <c:pt idx="115">
                  <c:v>960985</c:v>
                </c:pt>
                <c:pt idx="116">
                  <c:v>973592</c:v>
                </c:pt>
                <c:pt idx="117">
                  <c:v>917884</c:v>
                </c:pt>
                <c:pt idx="118">
                  <c:v>836967</c:v>
                </c:pt>
                <c:pt idx="119">
                  <c:v>883865</c:v>
                </c:pt>
                <c:pt idx="120">
                  <c:v>915439</c:v>
                </c:pt>
                <c:pt idx="121">
                  <c:v>673846</c:v>
                </c:pt>
                <c:pt idx="122">
                  <c:v>605894</c:v>
                </c:pt>
                <c:pt idx="123">
                  <c:v>800646</c:v>
                </c:pt>
                <c:pt idx="124">
                  <c:v>778465</c:v>
                </c:pt>
                <c:pt idx="125">
                  <c:v>856482</c:v>
                </c:pt>
                <c:pt idx="126">
                  <c:v>1032644</c:v>
                </c:pt>
                <c:pt idx="127">
                  <c:v>1085232</c:v>
                </c:pt>
                <c:pt idx="128">
                  <c:v>1039872</c:v>
                </c:pt>
                <c:pt idx="129">
                  <c:v>1110345</c:v>
                </c:pt>
                <c:pt idx="130">
                  <c:v>1042694</c:v>
                </c:pt>
                <c:pt idx="131">
                  <c:v>1079625</c:v>
                </c:pt>
                <c:pt idx="132">
                  <c:v>993350</c:v>
                </c:pt>
                <c:pt idx="133">
                  <c:v>970487</c:v>
                </c:pt>
                <c:pt idx="134">
                  <c:v>1138754</c:v>
                </c:pt>
                <c:pt idx="135">
                  <c:v>1080458</c:v>
                </c:pt>
                <c:pt idx="136">
                  <c:v>1207254</c:v>
                </c:pt>
                <c:pt idx="137">
                  <c:v>1053828</c:v>
                </c:pt>
                <c:pt idx="138">
                  <c:v>1074212</c:v>
                </c:pt>
                <c:pt idx="139">
                  <c:v>1105919</c:v>
                </c:pt>
                <c:pt idx="140">
                  <c:v>1045995</c:v>
                </c:pt>
                <c:pt idx="141">
                  <c:v>1050053</c:v>
                </c:pt>
                <c:pt idx="142">
                  <c:v>974827</c:v>
                </c:pt>
                <c:pt idx="143">
                  <c:v>920278</c:v>
                </c:pt>
                <c:pt idx="144">
                  <c:v>1013428</c:v>
                </c:pt>
                <c:pt idx="145">
                  <c:v>1025545</c:v>
                </c:pt>
                <c:pt idx="146">
                  <c:v>1142958</c:v>
                </c:pt>
                <c:pt idx="147">
                  <c:v>1041067</c:v>
                </c:pt>
                <c:pt idx="148">
                  <c:v>1156350</c:v>
                </c:pt>
                <c:pt idx="149">
                  <c:v>1069182</c:v>
                </c:pt>
                <c:pt idx="150">
                  <c:v>1019592</c:v>
                </c:pt>
                <c:pt idx="151">
                  <c:v>978133</c:v>
                </c:pt>
                <c:pt idx="152">
                  <c:v>866084</c:v>
                </c:pt>
                <c:pt idx="153">
                  <c:v>805327</c:v>
                </c:pt>
                <c:pt idx="154">
                  <c:v>721876</c:v>
                </c:pt>
                <c:pt idx="155">
                  <c:v>744438</c:v>
                </c:pt>
                <c:pt idx="156">
                  <c:v>781138</c:v>
                </c:pt>
                <c:pt idx="157">
                  <c:v>645554</c:v>
                </c:pt>
                <c:pt idx="158">
                  <c:v>738685</c:v>
                </c:pt>
                <c:pt idx="159">
                  <c:v>812312</c:v>
                </c:pt>
                <c:pt idx="160">
                  <c:v>919849</c:v>
                </c:pt>
                <c:pt idx="161">
                  <c:v>867016</c:v>
                </c:pt>
                <c:pt idx="162">
                  <c:v>798608</c:v>
                </c:pt>
                <c:pt idx="163">
                  <c:v>91086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6679-4B23-9BB4-3CC9CF7A79A2}"/>
            </c:ext>
          </c:extLst>
        </c:ser>
        <c:ser>
          <c:idx val="2"/>
          <c:order val="1"/>
          <c:tx>
            <c:strRef>
              <c:f>'Import share'!$D$1</c:f>
              <c:strCache>
                <c:ptCount val="1"/>
                <c:pt idx="0">
                  <c:v> East Coast + Gulf Coast</c:v>
                </c:pt>
              </c:strCache>
            </c:strRef>
          </c:tx>
          <c:spPr>
            <a:ln w="38100" cap="rnd">
              <a:solidFill>
                <a:schemeClr val="accent6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Import share'!$A$26:$A$190</c:f>
              <c:strCache>
                <c:ptCount val="164"/>
                <c:pt idx="0">
                  <c:v>2010</c:v>
                </c:pt>
                <c:pt idx="1">
                  <c:v>10-Feb</c:v>
                </c:pt>
                <c:pt idx="2">
                  <c:v>10-Mar</c:v>
                </c:pt>
                <c:pt idx="3">
                  <c:v>10-Apr</c:v>
                </c:pt>
                <c:pt idx="4">
                  <c:v>10-May</c:v>
                </c:pt>
                <c:pt idx="5">
                  <c:v>10-Jun</c:v>
                </c:pt>
                <c:pt idx="6">
                  <c:v>10-Jul</c:v>
                </c:pt>
                <c:pt idx="7">
                  <c:v>10-Aug</c:v>
                </c:pt>
                <c:pt idx="8">
                  <c:v>10-Sep</c:v>
                </c:pt>
                <c:pt idx="9">
                  <c:v>10-Oct</c:v>
                </c:pt>
                <c:pt idx="10">
                  <c:v>10-Nov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</c:strCache>
            </c:strRef>
          </c:cat>
          <c:val>
            <c:numRef>
              <c:f>'Import share'!$D$26:$D$190</c:f>
              <c:numCache>
                <c:formatCode>#,##0_);[Red]\(#,##0\)</c:formatCode>
                <c:ptCount val="165"/>
                <c:pt idx="0">
                  <c:v>396849</c:v>
                </c:pt>
                <c:pt idx="1">
                  <c:v>388323</c:v>
                </c:pt>
                <c:pt idx="2">
                  <c:v>440676</c:v>
                </c:pt>
                <c:pt idx="3">
                  <c:v>436717</c:v>
                </c:pt>
                <c:pt idx="4">
                  <c:v>472053</c:v>
                </c:pt>
                <c:pt idx="5">
                  <c:v>479002</c:v>
                </c:pt>
                <c:pt idx="6">
                  <c:v>518395</c:v>
                </c:pt>
                <c:pt idx="7">
                  <c:v>514362</c:v>
                </c:pt>
                <c:pt idx="8">
                  <c:v>482808</c:v>
                </c:pt>
                <c:pt idx="9">
                  <c:v>516792</c:v>
                </c:pt>
                <c:pt idx="10">
                  <c:v>452629</c:v>
                </c:pt>
                <c:pt idx="11">
                  <c:v>425905</c:v>
                </c:pt>
                <c:pt idx="12">
                  <c:v>460330</c:v>
                </c:pt>
                <c:pt idx="13">
                  <c:v>441326</c:v>
                </c:pt>
                <c:pt idx="14">
                  <c:v>451319</c:v>
                </c:pt>
                <c:pt idx="15">
                  <c:v>475188</c:v>
                </c:pt>
                <c:pt idx="16">
                  <c:v>485345</c:v>
                </c:pt>
                <c:pt idx="17">
                  <c:v>473191</c:v>
                </c:pt>
                <c:pt idx="18">
                  <c:v>503911</c:v>
                </c:pt>
                <c:pt idx="19">
                  <c:v>504673</c:v>
                </c:pt>
                <c:pt idx="20">
                  <c:v>519841</c:v>
                </c:pt>
                <c:pt idx="21">
                  <c:v>499041</c:v>
                </c:pt>
                <c:pt idx="22">
                  <c:v>477988</c:v>
                </c:pt>
                <c:pt idx="23">
                  <c:v>448018</c:v>
                </c:pt>
                <c:pt idx="24">
                  <c:v>488274</c:v>
                </c:pt>
                <c:pt idx="25">
                  <c:v>466074</c:v>
                </c:pt>
                <c:pt idx="26">
                  <c:v>476848</c:v>
                </c:pt>
                <c:pt idx="27">
                  <c:v>494271</c:v>
                </c:pt>
                <c:pt idx="28">
                  <c:v>524307</c:v>
                </c:pt>
                <c:pt idx="29">
                  <c:v>510200</c:v>
                </c:pt>
                <c:pt idx="30">
                  <c:v>544407</c:v>
                </c:pt>
                <c:pt idx="31">
                  <c:v>553036</c:v>
                </c:pt>
                <c:pt idx="32">
                  <c:v>529521</c:v>
                </c:pt>
                <c:pt idx="33">
                  <c:v>470818</c:v>
                </c:pt>
                <c:pt idx="34">
                  <c:v>507238</c:v>
                </c:pt>
                <c:pt idx="35">
                  <c:v>475655</c:v>
                </c:pt>
                <c:pt idx="36">
                  <c:v>469902</c:v>
                </c:pt>
                <c:pt idx="37">
                  <c:v>464381</c:v>
                </c:pt>
                <c:pt idx="38">
                  <c:v>474680</c:v>
                </c:pt>
                <c:pt idx="39">
                  <c:v>494018</c:v>
                </c:pt>
                <c:pt idx="40">
                  <c:v>540201</c:v>
                </c:pt>
                <c:pt idx="41">
                  <c:v>510376</c:v>
                </c:pt>
                <c:pt idx="42">
                  <c:v>556888</c:v>
                </c:pt>
                <c:pt idx="43">
                  <c:v>591722</c:v>
                </c:pt>
                <c:pt idx="44">
                  <c:v>530006</c:v>
                </c:pt>
                <c:pt idx="45">
                  <c:v>584740</c:v>
                </c:pt>
                <c:pt idx="46">
                  <c:v>496896</c:v>
                </c:pt>
                <c:pt idx="47">
                  <c:v>497077</c:v>
                </c:pt>
                <c:pt idx="48">
                  <c:v>518929</c:v>
                </c:pt>
                <c:pt idx="49">
                  <c:v>488883</c:v>
                </c:pt>
                <c:pt idx="50">
                  <c:v>542931</c:v>
                </c:pt>
                <c:pt idx="51">
                  <c:v>542354</c:v>
                </c:pt>
                <c:pt idx="52">
                  <c:v>583838</c:v>
                </c:pt>
                <c:pt idx="53">
                  <c:v>549366</c:v>
                </c:pt>
                <c:pt idx="54">
                  <c:v>623229</c:v>
                </c:pt>
                <c:pt idx="55">
                  <c:v>628489</c:v>
                </c:pt>
                <c:pt idx="56">
                  <c:v>596728</c:v>
                </c:pt>
                <c:pt idx="57">
                  <c:v>647222</c:v>
                </c:pt>
                <c:pt idx="58">
                  <c:v>563044</c:v>
                </c:pt>
                <c:pt idx="59">
                  <c:v>582307</c:v>
                </c:pt>
                <c:pt idx="60">
                  <c:v>582760</c:v>
                </c:pt>
                <c:pt idx="61">
                  <c:v>562631</c:v>
                </c:pt>
                <c:pt idx="62">
                  <c:v>687260</c:v>
                </c:pt>
                <c:pt idx="63">
                  <c:v>629676</c:v>
                </c:pt>
                <c:pt idx="64">
                  <c:v>686676</c:v>
                </c:pt>
                <c:pt idx="65">
                  <c:v>647782</c:v>
                </c:pt>
                <c:pt idx="66">
                  <c:v>678017</c:v>
                </c:pt>
                <c:pt idx="67">
                  <c:v>661665</c:v>
                </c:pt>
                <c:pt idx="68">
                  <c:v>654796</c:v>
                </c:pt>
                <c:pt idx="69">
                  <c:v>651082</c:v>
                </c:pt>
                <c:pt idx="70">
                  <c:v>579458</c:v>
                </c:pt>
                <c:pt idx="71">
                  <c:v>576269</c:v>
                </c:pt>
                <c:pt idx="72">
                  <c:v>592361</c:v>
                </c:pt>
                <c:pt idx="73">
                  <c:v>632629</c:v>
                </c:pt>
                <c:pt idx="74">
                  <c:v>610310</c:v>
                </c:pt>
                <c:pt idx="75">
                  <c:v>611474</c:v>
                </c:pt>
                <c:pt idx="76">
                  <c:v>642243</c:v>
                </c:pt>
                <c:pt idx="77">
                  <c:v>645760</c:v>
                </c:pt>
                <c:pt idx="78">
                  <c:v>682899</c:v>
                </c:pt>
                <c:pt idx="79">
                  <c:v>720956</c:v>
                </c:pt>
                <c:pt idx="80">
                  <c:v>658195</c:v>
                </c:pt>
                <c:pt idx="81">
                  <c:v>710040</c:v>
                </c:pt>
                <c:pt idx="82">
                  <c:v>666525</c:v>
                </c:pt>
                <c:pt idx="83">
                  <c:v>641046</c:v>
                </c:pt>
                <c:pt idx="84">
                  <c:v>684078</c:v>
                </c:pt>
                <c:pt idx="85">
                  <c:v>655415</c:v>
                </c:pt>
                <c:pt idx="86">
                  <c:v>653197</c:v>
                </c:pt>
                <c:pt idx="87">
                  <c:v>696537</c:v>
                </c:pt>
                <c:pt idx="88">
                  <c:v>712028</c:v>
                </c:pt>
                <c:pt idx="89">
                  <c:v>728360</c:v>
                </c:pt>
                <c:pt idx="90">
                  <c:v>730683</c:v>
                </c:pt>
                <c:pt idx="91">
                  <c:v>753505</c:v>
                </c:pt>
                <c:pt idx="92">
                  <c:v>757309</c:v>
                </c:pt>
                <c:pt idx="93">
                  <c:v>799543</c:v>
                </c:pt>
                <c:pt idx="94">
                  <c:v>703811</c:v>
                </c:pt>
                <c:pt idx="95">
                  <c:v>702549</c:v>
                </c:pt>
                <c:pt idx="96">
                  <c:v>750524</c:v>
                </c:pt>
                <c:pt idx="97">
                  <c:v>689093</c:v>
                </c:pt>
                <c:pt idx="98">
                  <c:v>743953</c:v>
                </c:pt>
                <c:pt idx="99">
                  <c:v>699540</c:v>
                </c:pt>
                <c:pt idx="100">
                  <c:v>762171</c:v>
                </c:pt>
                <c:pt idx="101">
                  <c:v>775197</c:v>
                </c:pt>
                <c:pt idx="102">
                  <c:v>816244</c:v>
                </c:pt>
                <c:pt idx="103">
                  <c:v>829999</c:v>
                </c:pt>
                <c:pt idx="104">
                  <c:v>770163</c:v>
                </c:pt>
                <c:pt idx="105">
                  <c:v>874716</c:v>
                </c:pt>
                <c:pt idx="106">
                  <c:v>768649</c:v>
                </c:pt>
                <c:pt idx="107">
                  <c:v>793820</c:v>
                </c:pt>
                <c:pt idx="108">
                  <c:v>830111</c:v>
                </c:pt>
                <c:pt idx="109">
                  <c:v>715186</c:v>
                </c:pt>
                <c:pt idx="110">
                  <c:v>778870</c:v>
                </c:pt>
                <c:pt idx="111">
                  <c:v>781055</c:v>
                </c:pt>
                <c:pt idx="112">
                  <c:v>840673</c:v>
                </c:pt>
                <c:pt idx="113">
                  <c:v>774407</c:v>
                </c:pt>
                <c:pt idx="114">
                  <c:v>863343</c:v>
                </c:pt>
                <c:pt idx="115">
                  <c:v>894640</c:v>
                </c:pt>
                <c:pt idx="116">
                  <c:v>810357</c:v>
                </c:pt>
                <c:pt idx="117">
                  <c:v>868956</c:v>
                </c:pt>
                <c:pt idx="118">
                  <c:v>762676</c:v>
                </c:pt>
                <c:pt idx="119">
                  <c:v>746233</c:v>
                </c:pt>
                <c:pt idx="120">
                  <c:v>816001</c:v>
                </c:pt>
                <c:pt idx="121">
                  <c:v>746112</c:v>
                </c:pt>
                <c:pt idx="122">
                  <c:v>681995</c:v>
                </c:pt>
                <c:pt idx="123">
                  <c:v>733996</c:v>
                </c:pt>
                <c:pt idx="124">
                  <c:v>680984</c:v>
                </c:pt>
                <c:pt idx="125">
                  <c:v>677678</c:v>
                </c:pt>
                <c:pt idx="126">
                  <c:v>801188</c:v>
                </c:pt>
                <c:pt idx="127">
                  <c:v>929017</c:v>
                </c:pt>
                <c:pt idx="128">
                  <c:v>920188</c:v>
                </c:pt>
                <c:pt idx="129">
                  <c:v>999826</c:v>
                </c:pt>
                <c:pt idx="130">
                  <c:v>958553</c:v>
                </c:pt>
                <c:pt idx="131">
                  <c:v>926538</c:v>
                </c:pt>
                <c:pt idx="132">
                  <c:v>951870</c:v>
                </c:pt>
                <c:pt idx="133">
                  <c:v>808460</c:v>
                </c:pt>
                <c:pt idx="134">
                  <c:v>1020746</c:v>
                </c:pt>
                <c:pt idx="135">
                  <c:v>967586</c:v>
                </c:pt>
                <c:pt idx="136">
                  <c:v>1016923</c:v>
                </c:pt>
                <c:pt idx="137">
                  <c:v>990504</c:v>
                </c:pt>
                <c:pt idx="138">
                  <c:v>1021426</c:v>
                </c:pt>
                <c:pt idx="139">
                  <c:v>1060117</c:v>
                </c:pt>
                <c:pt idx="140">
                  <c:v>998257</c:v>
                </c:pt>
                <c:pt idx="141">
                  <c:v>1065229</c:v>
                </c:pt>
                <c:pt idx="142">
                  <c:v>1040271</c:v>
                </c:pt>
                <c:pt idx="143">
                  <c:v>1055258</c:v>
                </c:pt>
                <c:pt idx="144">
                  <c:v>1052216</c:v>
                </c:pt>
                <c:pt idx="145">
                  <c:v>994960</c:v>
                </c:pt>
                <c:pt idx="146">
                  <c:v>1087961</c:v>
                </c:pt>
                <c:pt idx="147">
                  <c:v>1108727</c:v>
                </c:pt>
                <c:pt idx="148">
                  <c:v>1133072</c:v>
                </c:pt>
                <c:pt idx="149">
                  <c:v>1076533</c:v>
                </c:pt>
                <c:pt idx="150">
                  <c:v>1069286</c:v>
                </c:pt>
                <c:pt idx="151">
                  <c:v>1174305</c:v>
                </c:pt>
                <c:pt idx="152">
                  <c:v>1068840</c:v>
                </c:pt>
                <c:pt idx="153">
                  <c:v>1092918</c:v>
                </c:pt>
                <c:pt idx="154">
                  <c:v>955925</c:v>
                </c:pt>
                <c:pt idx="155" formatCode="#,##0">
                  <c:v>883340</c:v>
                </c:pt>
                <c:pt idx="156" formatCode="#,##0">
                  <c:v>927560</c:v>
                </c:pt>
                <c:pt idx="157" formatCode="#,##0">
                  <c:v>817037</c:v>
                </c:pt>
                <c:pt idx="158" formatCode="#,##0">
                  <c:v>787358</c:v>
                </c:pt>
                <c:pt idx="159" formatCode="#,##0">
                  <c:v>877335</c:v>
                </c:pt>
                <c:pt idx="160" formatCode="#,##0">
                  <c:v>908236</c:v>
                </c:pt>
                <c:pt idx="161">
                  <c:v>873843</c:v>
                </c:pt>
                <c:pt idx="162">
                  <c:v>984429</c:v>
                </c:pt>
                <c:pt idx="163">
                  <c:v>98571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6679-4B23-9BB4-3CC9CF7A79A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in val="2000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ysClr val="windowText" lastClr="000000"/>
                    </a:solidFill>
                  </a:rPr>
                  <a:t>Thousands</a:t>
                </a:r>
              </a:p>
            </c:rich>
          </c:tx>
          <c:layout>
            <c:manualLayout>
              <c:xMode val="edge"/>
              <c:yMode val="edge"/>
              <c:x val="0"/>
              <c:y val="0.44453179680664917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dispUnits>
          <c:builtInUnit val="thousands"/>
        </c:dispUnits>
      </c:valAx>
      <c:spPr>
        <a:noFill/>
        <a:ln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0.11073879900568789"/>
          <c:y val="8.8794770761897901E-2"/>
          <c:w val="0.34337462982042072"/>
          <c:h val="8.7674321959755039E-2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Drug &amp; alcohol clearinghouse pre-employment queries, monthly 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9.964842709878656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9.5928335045075877E-2"/>
          <c:y val="7.1896762904636924E-2"/>
          <c:w val="0.88016756057666701"/>
          <c:h val="0.77217147856517931"/>
        </c:manualLayout>
      </c:layout>
      <c:lineChart>
        <c:grouping val="standard"/>
        <c:varyColors val="0"/>
        <c:ser>
          <c:idx val="0"/>
          <c:order val="0"/>
          <c:tx>
            <c:strRef>
              <c:f>'Pre-employment'!$B$1</c:f>
              <c:strCache>
                <c:ptCount val="1"/>
                <c:pt idx="0">
                  <c:v> Queries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'Pre-employment'!$A$2:$A$45</c:f>
              <c:numCache>
                <c:formatCode>m/d/yyyy</c:formatCode>
                <c:ptCount val="44"/>
                <c:pt idx="0">
                  <c:v>42369</c:v>
                </c:pt>
                <c:pt idx="1">
                  <c:v>42400</c:v>
                </c:pt>
                <c:pt idx="2">
                  <c:v>42429</c:v>
                </c:pt>
                <c:pt idx="3">
                  <c:v>42460</c:v>
                </c:pt>
                <c:pt idx="4">
                  <c:v>42490</c:v>
                </c:pt>
                <c:pt idx="5">
                  <c:v>42521</c:v>
                </c:pt>
                <c:pt idx="6">
                  <c:v>42551</c:v>
                </c:pt>
                <c:pt idx="7">
                  <c:v>42582</c:v>
                </c:pt>
                <c:pt idx="8">
                  <c:v>42613</c:v>
                </c:pt>
                <c:pt idx="9">
                  <c:v>42643</c:v>
                </c:pt>
                <c:pt idx="10">
                  <c:v>42674</c:v>
                </c:pt>
                <c:pt idx="11">
                  <c:v>42704</c:v>
                </c:pt>
                <c:pt idx="12">
                  <c:v>42735</c:v>
                </c:pt>
                <c:pt idx="13">
                  <c:v>42766</c:v>
                </c:pt>
                <c:pt idx="14">
                  <c:v>42794</c:v>
                </c:pt>
                <c:pt idx="15">
                  <c:v>42825</c:v>
                </c:pt>
                <c:pt idx="16">
                  <c:v>42855</c:v>
                </c:pt>
                <c:pt idx="17">
                  <c:v>42886</c:v>
                </c:pt>
                <c:pt idx="18">
                  <c:v>42916</c:v>
                </c:pt>
                <c:pt idx="19">
                  <c:v>42947</c:v>
                </c:pt>
                <c:pt idx="20">
                  <c:v>42978</c:v>
                </c:pt>
                <c:pt idx="21">
                  <c:v>43008</c:v>
                </c:pt>
                <c:pt idx="22">
                  <c:v>43039</c:v>
                </c:pt>
                <c:pt idx="23">
                  <c:v>43069</c:v>
                </c:pt>
                <c:pt idx="24">
                  <c:v>43100</c:v>
                </c:pt>
                <c:pt idx="25">
                  <c:v>43131</c:v>
                </c:pt>
                <c:pt idx="26">
                  <c:v>43159</c:v>
                </c:pt>
                <c:pt idx="27">
                  <c:v>43190</c:v>
                </c:pt>
                <c:pt idx="28">
                  <c:v>43220</c:v>
                </c:pt>
                <c:pt idx="29">
                  <c:v>43251</c:v>
                </c:pt>
                <c:pt idx="30">
                  <c:v>43281</c:v>
                </c:pt>
                <c:pt idx="31">
                  <c:v>43312</c:v>
                </c:pt>
                <c:pt idx="32">
                  <c:v>43343</c:v>
                </c:pt>
                <c:pt idx="33">
                  <c:v>43373</c:v>
                </c:pt>
                <c:pt idx="34">
                  <c:v>43404</c:v>
                </c:pt>
                <c:pt idx="35">
                  <c:v>43434</c:v>
                </c:pt>
                <c:pt idx="36">
                  <c:v>43465</c:v>
                </c:pt>
                <c:pt idx="37">
                  <c:v>43496</c:v>
                </c:pt>
                <c:pt idx="38">
                  <c:v>43524</c:v>
                </c:pt>
                <c:pt idx="39">
                  <c:v>43555</c:v>
                </c:pt>
                <c:pt idx="40">
                  <c:v>43585</c:v>
                </c:pt>
                <c:pt idx="41">
                  <c:v>43616</c:v>
                </c:pt>
                <c:pt idx="42">
                  <c:v>43646</c:v>
                </c:pt>
                <c:pt idx="43">
                  <c:v>43677</c:v>
                </c:pt>
              </c:numCache>
            </c:numRef>
          </c:cat>
          <c:val>
            <c:numRef>
              <c:f>'Pre-employment'!$B$2:$B$45</c:f>
              <c:numCache>
                <c:formatCode>#,##0</c:formatCode>
                <c:ptCount val="44"/>
                <c:pt idx="0">
                  <c:v>106872</c:v>
                </c:pt>
                <c:pt idx="1">
                  <c:v>125885</c:v>
                </c:pt>
                <c:pt idx="2">
                  <c:v>120399</c:v>
                </c:pt>
                <c:pt idx="3">
                  <c:v>89983</c:v>
                </c:pt>
                <c:pt idx="4">
                  <c:v>85052</c:v>
                </c:pt>
                <c:pt idx="5">
                  <c:v>109111</c:v>
                </c:pt>
                <c:pt idx="6">
                  <c:v>123381</c:v>
                </c:pt>
                <c:pt idx="7">
                  <c:v>128672</c:v>
                </c:pt>
                <c:pt idx="8">
                  <c:v>135916</c:v>
                </c:pt>
                <c:pt idx="9">
                  <c:v>143712</c:v>
                </c:pt>
                <c:pt idx="10">
                  <c:v>123347</c:v>
                </c:pt>
                <c:pt idx="11">
                  <c:v>137512</c:v>
                </c:pt>
                <c:pt idx="12">
                  <c:v>150699</c:v>
                </c:pt>
                <c:pt idx="13">
                  <c:v>138731</c:v>
                </c:pt>
                <c:pt idx="14">
                  <c:v>171511</c:v>
                </c:pt>
                <c:pt idx="15">
                  <c:v>160562</c:v>
                </c:pt>
                <c:pt idx="16">
                  <c:v>153992</c:v>
                </c:pt>
                <c:pt idx="17">
                  <c:v>179080</c:v>
                </c:pt>
                <c:pt idx="18">
                  <c:v>173862</c:v>
                </c:pt>
                <c:pt idx="19">
                  <c:v>186672</c:v>
                </c:pt>
                <c:pt idx="20">
                  <c:v>184134</c:v>
                </c:pt>
                <c:pt idx="21">
                  <c:v>183668</c:v>
                </c:pt>
                <c:pt idx="22">
                  <c:v>176833</c:v>
                </c:pt>
                <c:pt idx="23">
                  <c:v>165962</c:v>
                </c:pt>
                <c:pt idx="24">
                  <c:v>191522</c:v>
                </c:pt>
                <c:pt idx="25">
                  <c:v>185340</c:v>
                </c:pt>
                <c:pt idx="26">
                  <c:v>224596</c:v>
                </c:pt>
                <c:pt idx="27">
                  <c:v>204915</c:v>
                </c:pt>
                <c:pt idx="28">
                  <c:v>213590</c:v>
                </c:pt>
                <c:pt idx="29">
                  <c:v>227638</c:v>
                </c:pt>
                <c:pt idx="30">
                  <c:v>208342</c:v>
                </c:pt>
                <c:pt idx="31">
                  <c:v>246095</c:v>
                </c:pt>
                <c:pt idx="32">
                  <c:v>220473</c:v>
                </c:pt>
                <c:pt idx="33">
                  <c:v>216276</c:v>
                </c:pt>
                <c:pt idx="34">
                  <c:v>199274</c:v>
                </c:pt>
                <c:pt idx="35">
                  <c:v>178725</c:v>
                </c:pt>
                <c:pt idx="36">
                  <c:v>231920</c:v>
                </c:pt>
                <c:pt idx="37">
                  <c:v>208200</c:v>
                </c:pt>
                <c:pt idx="38">
                  <c:v>244437</c:v>
                </c:pt>
                <c:pt idx="39">
                  <c:v>212108</c:v>
                </c:pt>
                <c:pt idx="40">
                  <c:v>234291</c:v>
                </c:pt>
                <c:pt idx="41">
                  <c:v>226391</c:v>
                </c:pt>
                <c:pt idx="42">
                  <c:v>213726</c:v>
                </c:pt>
                <c:pt idx="43">
                  <c:v>25040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CDAB-411D-9711-0E28F9B3C2F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dateAx>
        <c:axId val="491790992"/>
        <c:scaling>
          <c:orientation val="minMax"/>
        </c:scaling>
        <c:delete val="0"/>
        <c:axPos val="b"/>
        <c:numFmt formatCode="[$-409]mmm\-yy;@" sourceLinked="0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At val="60000"/>
        <c:auto val="1"/>
        <c:lblOffset val="100"/>
        <c:baseTimeUnit val="months"/>
        <c:majorUnit val="6"/>
        <c:majorTimeUnit val="months"/>
      </c:dateAx>
      <c:valAx>
        <c:axId val="491790336"/>
        <c:scaling>
          <c:orientation val="minMax"/>
          <c:max val="260000"/>
          <c:min val="600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Queries (thousands)</a:t>
                </a:r>
              </a:p>
            </c:rich>
          </c:tx>
          <c:layout>
            <c:manualLayout>
              <c:xMode val="edge"/>
              <c:yMode val="edge"/>
              <c:x val="5.3292251512039221E-4"/>
              <c:y val="0.33898928258967631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dispUnits>
          <c:builtInUnit val="thousands"/>
        </c:dispUnits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Grants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of motor property authority (common and contract), monthly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8.4112081098558333E-2"/>
          <c:y val="1.6666666666666666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696741032370956E-2"/>
          <c:y val="8.2472392865962516E-2"/>
          <c:w val="0.88534111621463984"/>
          <c:h val="0.74463385826771655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'New carriers-M'!$A$133:$A$298</c:f>
              <c:strCache>
                <c:ptCount val="165"/>
                <c:pt idx="0">
                  <c:v>2010</c:v>
                </c:pt>
                <c:pt idx="1">
                  <c:v>Feb-10</c:v>
                </c:pt>
                <c:pt idx="2">
                  <c:v>Mar-10</c:v>
                </c:pt>
                <c:pt idx="3">
                  <c:v>Apr-10</c:v>
                </c:pt>
                <c:pt idx="4">
                  <c:v>May-10</c:v>
                </c:pt>
                <c:pt idx="5">
                  <c:v>Jun-10</c:v>
                </c:pt>
                <c:pt idx="6">
                  <c:v>Jul-10</c:v>
                </c:pt>
                <c:pt idx="7">
                  <c:v>Aug-10</c:v>
                </c:pt>
                <c:pt idx="8">
                  <c:v>Sep-10</c:v>
                </c:pt>
                <c:pt idx="9">
                  <c:v>Oct-10</c:v>
                </c:pt>
                <c:pt idx="10">
                  <c:v>Nov-10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  <c:pt idx="164">
                  <c:v>23-Sep</c:v>
                </c:pt>
              </c:strCache>
            </c:strRef>
          </c:cat>
          <c:val>
            <c:numRef>
              <c:f>'New carriers-M'!$B$133:$B$298</c:f>
              <c:numCache>
                <c:formatCode>#,##0</c:formatCode>
                <c:ptCount val="166"/>
                <c:pt idx="0">
                  <c:v>1651</c:v>
                </c:pt>
                <c:pt idx="1">
                  <c:v>1715</c:v>
                </c:pt>
                <c:pt idx="2">
                  <c:v>2065</c:v>
                </c:pt>
                <c:pt idx="3">
                  <c:v>2286</c:v>
                </c:pt>
                <c:pt idx="4">
                  <c:v>2079</c:v>
                </c:pt>
                <c:pt idx="5">
                  <c:v>2122</c:v>
                </c:pt>
                <c:pt idx="6">
                  <c:v>2143</c:v>
                </c:pt>
                <c:pt idx="7">
                  <c:v>1898</c:v>
                </c:pt>
                <c:pt idx="8">
                  <c:v>1966</c:v>
                </c:pt>
                <c:pt idx="9">
                  <c:v>2042</c:v>
                </c:pt>
                <c:pt idx="10">
                  <c:v>1925</c:v>
                </c:pt>
                <c:pt idx="11">
                  <c:v>1791</c:v>
                </c:pt>
                <c:pt idx="12">
                  <c:v>1926</c:v>
                </c:pt>
                <c:pt idx="13">
                  <c:v>1850</c:v>
                </c:pt>
                <c:pt idx="14">
                  <c:v>2594</c:v>
                </c:pt>
                <c:pt idx="15">
                  <c:v>2610</c:v>
                </c:pt>
                <c:pt idx="16">
                  <c:v>2260</c:v>
                </c:pt>
                <c:pt idx="17">
                  <c:v>2278</c:v>
                </c:pt>
                <c:pt idx="18">
                  <c:v>2246</c:v>
                </c:pt>
                <c:pt idx="19">
                  <c:v>2308</c:v>
                </c:pt>
                <c:pt idx="20">
                  <c:v>2387</c:v>
                </c:pt>
                <c:pt idx="21">
                  <c:v>2201</c:v>
                </c:pt>
                <c:pt idx="22">
                  <c:v>2012</c:v>
                </c:pt>
                <c:pt idx="23">
                  <c:v>1945</c:v>
                </c:pt>
                <c:pt idx="24">
                  <c:v>2268</c:v>
                </c:pt>
                <c:pt idx="25">
                  <c:v>2383</c:v>
                </c:pt>
                <c:pt idx="26">
                  <c:v>3257</c:v>
                </c:pt>
                <c:pt idx="27">
                  <c:v>2458</c:v>
                </c:pt>
                <c:pt idx="28">
                  <c:v>2617</c:v>
                </c:pt>
                <c:pt idx="29">
                  <c:v>2563</c:v>
                </c:pt>
                <c:pt idx="30">
                  <c:v>2137</c:v>
                </c:pt>
                <c:pt idx="31">
                  <c:v>2531</c:v>
                </c:pt>
                <c:pt idx="32">
                  <c:v>2013</c:v>
                </c:pt>
                <c:pt idx="33">
                  <c:v>2317</c:v>
                </c:pt>
                <c:pt idx="34">
                  <c:v>2075</c:v>
                </c:pt>
                <c:pt idx="35">
                  <c:v>1873</c:v>
                </c:pt>
                <c:pt idx="36">
                  <c:v>2195</c:v>
                </c:pt>
                <c:pt idx="37">
                  <c:v>2250</c:v>
                </c:pt>
                <c:pt idx="38">
                  <c:v>2703</c:v>
                </c:pt>
                <c:pt idx="39">
                  <c:v>2632</c:v>
                </c:pt>
                <c:pt idx="40">
                  <c:v>2747</c:v>
                </c:pt>
                <c:pt idx="41">
                  <c:v>2399</c:v>
                </c:pt>
                <c:pt idx="42">
                  <c:v>2326</c:v>
                </c:pt>
                <c:pt idx="43">
                  <c:v>2513</c:v>
                </c:pt>
                <c:pt idx="44">
                  <c:v>2083</c:v>
                </c:pt>
                <c:pt idx="45">
                  <c:v>2321</c:v>
                </c:pt>
                <c:pt idx="46">
                  <c:v>2064</c:v>
                </c:pt>
                <c:pt idx="47">
                  <c:v>1992</c:v>
                </c:pt>
                <c:pt idx="48">
                  <c:v>2212</c:v>
                </c:pt>
                <c:pt idx="49">
                  <c:v>2211</c:v>
                </c:pt>
                <c:pt idx="50">
                  <c:v>2662</c:v>
                </c:pt>
                <c:pt idx="51">
                  <c:v>3092</c:v>
                </c:pt>
                <c:pt idx="52">
                  <c:v>3062</c:v>
                </c:pt>
                <c:pt idx="53">
                  <c:v>2848</c:v>
                </c:pt>
                <c:pt idx="54">
                  <c:v>2764</c:v>
                </c:pt>
                <c:pt idx="55">
                  <c:v>2753</c:v>
                </c:pt>
                <c:pt idx="56">
                  <c:v>2680</c:v>
                </c:pt>
                <c:pt idx="57">
                  <c:v>3129</c:v>
                </c:pt>
                <c:pt idx="58">
                  <c:v>2349</c:v>
                </c:pt>
                <c:pt idx="59">
                  <c:v>2607</c:v>
                </c:pt>
                <c:pt idx="60">
                  <c:v>2514</c:v>
                </c:pt>
                <c:pt idx="61">
                  <c:v>2688</c:v>
                </c:pt>
                <c:pt idx="62">
                  <c:v>3417</c:v>
                </c:pt>
                <c:pt idx="63">
                  <c:v>3660</c:v>
                </c:pt>
                <c:pt idx="64">
                  <c:v>3262</c:v>
                </c:pt>
                <c:pt idx="65">
                  <c:v>3490</c:v>
                </c:pt>
                <c:pt idx="66">
                  <c:v>3332</c:v>
                </c:pt>
                <c:pt idx="67">
                  <c:v>2899</c:v>
                </c:pt>
                <c:pt idx="68">
                  <c:v>2933</c:v>
                </c:pt>
                <c:pt idx="69">
                  <c:v>3062</c:v>
                </c:pt>
                <c:pt idx="70">
                  <c:v>2528</c:v>
                </c:pt>
                <c:pt idx="71">
                  <c:v>2530</c:v>
                </c:pt>
                <c:pt idx="72">
                  <c:v>2492</c:v>
                </c:pt>
                <c:pt idx="73">
                  <c:v>3012</c:v>
                </c:pt>
                <c:pt idx="74">
                  <c:v>3456</c:v>
                </c:pt>
                <c:pt idx="75">
                  <c:v>3467</c:v>
                </c:pt>
                <c:pt idx="76">
                  <c:v>3246</c:v>
                </c:pt>
                <c:pt idx="77">
                  <c:v>3337</c:v>
                </c:pt>
                <c:pt idx="78">
                  <c:v>2839</c:v>
                </c:pt>
                <c:pt idx="79">
                  <c:v>2947</c:v>
                </c:pt>
                <c:pt idx="80">
                  <c:v>2968</c:v>
                </c:pt>
                <c:pt idx="81">
                  <c:v>2720</c:v>
                </c:pt>
                <c:pt idx="82">
                  <c:v>2334</c:v>
                </c:pt>
                <c:pt idx="83">
                  <c:v>2062</c:v>
                </c:pt>
                <c:pt idx="84">
                  <c:v>2301</c:v>
                </c:pt>
                <c:pt idx="85">
                  <c:v>2594</c:v>
                </c:pt>
                <c:pt idx="86">
                  <c:v>3091</c:v>
                </c:pt>
                <c:pt idx="87">
                  <c:v>3238</c:v>
                </c:pt>
                <c:pt idx="88">
                  <c:v>3254</c:v>
                </c:pt>
                <c:pt idx="89">
                  <c:v>3316</c:v>
                </c:pt>
                <c:pt idx="90">
                  <c:v>2778</c:v>
                </c:pt>
                <c:pt idx="91">
                  <c:v>3252</c:v>
                </c:pt>
                <c:pt idx="92">
                  <c:v>2889</c:v>
                </c:pt>
                <c:pt idx="93">
                  <c:v>3245</c:v>
                </c:pt>
                <c:pt idx="94">
                  <c:v>3096</c:v>
                </c:pt>
                <c:pt idx="95">
                  <c:v>2700</c:v>
                </c:pt>
                <c:pt idx="96">
                  <c:v>2886</c:v>
                </c:pt>
                <c:pt idx="97">
                  <c:v>2945</c:v>
                </c:pt>
                <c:pt idx="98">
                  <c:v>3685</c:v>
                </c:pt>
                <c:pt idx="99">
                  <c:v>3991</c:v>
                </c:pt>
                <c:pt idx="100">
                  <c:v>4102</c:v>
                </c:pt>
                <c:pt idx="101">
                  <c:v>4035</c:v>
                </c:pt>
                <c:pt idx="102">
                  <c:v>3566</c:v>
                </c:pt>
                <c:pt idx="103">
                  <c:v>4273</c:v>
                </c:pt>
                <c:pt idx="104">
                  <c:v>3525</c:v>
                </c:pt>
                <c:pt idx="105">
                  <c:v>4206</c:v>
                </c:pt>
                <c:pt idx="106">
                  <c:v>3676</c:v>
                </c:pt>
                <c:pt idx="107">
                  <c:v>3063</c:v>
                </c:pt>
                <c:pt idx="108">
                  <c:v>3479</c:v>
                </c:pt>
                <c:pt idx="109">
                  <c:v>3365</c:v>
                </c:pt>
                <c:pt idx="110">
                  <c:v>3992</c:v>
                </c:pt>
                <c:pt idx="111">
                  <c:v>4043</c:v>
                </c:pt>
                <c:pt idx="112">
                  <c:v>3967</c:v>
                </c:pt>
                <c:pt idx="113">
                  <c:v>3717</c:v>
                </c:pt>
                <c:pt idx="114">
                  <c:v>3633</c:v>
                </c:pt>
                <c:pt idx="115">
                  <c:v>3773</c:v>
                </c:pt>
                <c:pt idx="116">
                  <c:v>3290</c:v>
                </c:pt>
                <c:pt idx="117">
                  <c:v>3804</c:v>
                </c:pt>
                <c:pt idx="118">
                  <c:v>3157</c:v>
                </c:pt>
                <c:pt idx="119">
                  <c:v>3311</c:v>
                </c:pt>
                <c:pt idx="120">
                  <c:v>3684</c:v>
                </c:pt>
                <c:pt idx="121">
                  <c:v>3369</c:v>
                </c:pt>
                <c:pt idx="122">
                  <c:v>3980</c:v>
                </c:pt>
                <c:pt idx="123">
                  <c:v>3368</c:v>
                </c:pt>
                <c:pt idx="124">
                  <c:v>3204</c:v>
                </c:pt>
                <c:pt idx="125">
                  <c:v>3981</c:v>
                </c:pt>
                <c:pt idx="126">
                  <c:v>5396</c:v>
                </c:pt>
                <c:pt idx="127">
                  <c:v>5526</c:v>
                </c:pt>
                <c:pt idx="128">
                  <c:v>6426</c:v>
                </c:pt>
                <c:pt idx="129">
                  <c:v>7736</c:v>
                </c:pt>
                <c:pt idx="130">
                  <c:v>6465</c:v>
                </c:pt>
                <c:pt idx="131">
                  <c:v>6403</c:v>
                </c:pt>
                <c:pt idx="132">
                  <c:v>6071</c:v>
                </c:pt>
                <c:pt idx="133">
                  <c:v>6708</c:v>
                </c:pt>
                <c:pt idx="134">
                  <c:v>8616</c:v>
                </c:pt>
                <c:pt idx="135">
                  <c:v>10214</c:v>
                </c:pt>
                <c:pt idx="136">
                  <c:v>9528</c:v>
                </c:pt>
                <c:pt idx="137">
                  <c:v>10220</c:v>
                </c:pt>
                <c:pt idx="138">
                  <c:v>10166</c:v>
                </c:pt>
                <c:pt idx="139">
                  <c:v>10308</c:v>
                </c:pt>
                <c:pt idx="140">
                  <c:v>9939</c:v>
                </c:pt>
                <c:pt idx="141">
                  <c:v>10242</c:v>
                </c:pt>
                <c:pt idx="142">
                  <c:v>9137</c:v>
                </c:pt>
                <c:pt idx="143">
                  <c:v>8591</c:v>
                </c:pt>
                <c:pt idx="144">
                  <c:v>8564</c:v>
                </c:pt>
                <c:pt idx="145">
                  <c:v>9125</c:v>
                </c:pt>
                <c:pt idx="146">
                  <c:v>10904</c:v>
                </c:pt>
                <c:pt idx="147">
                  <c:v>9540</c:v>
                </c:pt>
                <c:pt idx="148">
                  <c:v>8368</c:v>
                </c:pt>
                <c:pt idx="149">
                  <c:v>7962</c:v>
                </c:pt>
                <c:pt idx="150">
                  <c:v>7197</c:v>
                </c:pt>
                <c:pt idx="151">
                  <c:v>8142</c:v>
                </c:pt>
                <c:pt idx="152">
                  <c:v>8227</c:v>
                </c:pt>
                <c:pt idx="153">
                  <c:v>7371</c:v>
                </c:pt>
                <c:pt idx="154">
                  <c:v>6534</c:v>
                </c:pt>
                <c:pt idx="155">
                  <c:v>5941</c:v>
                </c:pt>
                <c:pt idx="156">
                  <c:v>5886</c:v>
                </c:pt>
                <c:pt idx="157">
                  <c:v>6267</c:v>
                </c:pt>
                <c:pt idx="158">
                  <c:v>7478</c:v>
                </c:pt>
                <c:pt idx="159">
                  <c:v>5905</c:v>
                </c:pt>
                <c:pt idx="160">
                  <c:v>5781</c:v>
                </c:pt>
                <c:pt idx="161">
                  <c:v>5994</c:v>
                </c:pt>
                <c:pt idx="162">
                  <c:v>5092</c:v>
                </c:pt>
                <c:pt idx="163">
                  <c:v>5280</c:v>
                </c:pt>
                <c:pt idx="164">
                  <c:v>516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BB4-45AB-B3D9-4F3C04493A6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axId val="491790992"/>
        <c:axId val="491790336"/>
      </c:bar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Revocations minus reinstatements, for-hire motor property authority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8.1556259271938839E-2"/>
          <c:y val="1.388888888888888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696741032370956E-2"/>
          <c:y val="7.3084546779695836E-2"/>
          <c:w val="0.88534111621463984"/>
          <c:h val="0.7561049868766405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'Net revocations-M'!$A$133:$A$297</c:f>
              <c:strCache>
                <c:ptCount val="165"/>
                <c:pt idx="0">
                  <c:v>2010</c:v>
                </c:pt>
                <c:pt idx="1">
                  <c:v>Feb-10</c:v>
                </c:pt>
                <c:pt idx="2">
                  <c:v>Mar-10</c:v>
                </c:pt>
                <c:pt idx="3">
                  <c:v>Apr-10</c:v>
                </c:pt>
                <c:pt idx="4">
                  <c:v>May-10</c:v>
                </c:pt>
                <c:pt idx="5">
                  <c:v>Jun-10</c:v>
                </c:pt>
                <c:pt idx="6">
                  <c:v>Jul-10</c:v>
                </c:pt>
                <c:pt idx="7">
                  <c:v>Aug-10</c:v>
                </c:pt>
                <c:pt idx="8">
                  <c:v>Sep-10</c:v>
                </c:pt>
                <c:pt idx="9">
                  <c:v>Oct-10</c:v>
                </c:pt>
                <c:pt idx="10">
                  <c:v>Nov-10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  <c:pt idx="164">
                  <c:v>23-Sep</c:v>
                </c:pt>
              </c:strCache>
            </c:strRef>
          </c:cat>
          <c:val>
            <c:numRef>
              <c:f>'Net revocations-M'!$B$133:$B$297</c:f>
              <c:numCache>
                <c:formatCode>#,##0</c:formatCode>
                <c:ptCount val="165"/>
                <c:pt idx="0">
                  <c:v>2311</c:v>
                </c:pt>
                <c:pt idx="1">
                  <c:v>2673</c:v>
                </c:pt>
                <c:pt idx="2">
                  <c:v>2479</c:v>
                </c:pt>
                <c:pt idx="3">
                  <c:v>1855</c:v>
                </c:pt>
                <c:pt idx="4">
                  <c:v>1699</c:v>
                </c:pt>
                <c:pt idx="5">
                  <c:v>3192</c:v>
                </c:pt>
                <c:pt idx="6">
                  <c:v>2480</c:v>
                </c:pt>
                <c:pt idx="7">
                  <c:v>1663</c:v>
                </c:pt>
                <c:pt idx="8">
                  <c:v>1904</c:v>
                </c:pt>
                <c:pt idx="9">
                  <c:v>1934</c:v>
                </c:pt>
                <c:pt idx="10">
                  <c:v>2138</c:v>
                </c:pt>
                <c:pt idx="11">
                  <c:v>1803</c:v>
                </c:pt>
                <c:pt idx="12">
                  <c:v>2251</c:v>
                </c:pt>
                <c:pt idx="13">
                  <c:v>2037</c:v>
                </c:pt>
                <c:pt idx="14">
                  <c:v>2082</c:v>
                </c:pt>
                <c:pt idx="15">
                  <c:v>1968</c:v>
                </c:pt>
                <c:pt idx="16">
                  <c:v>2611</c:v>
                </c:pt>
                <c:pt idx="17">
                  <c:v>1779</c:v>
                </c:pt>
                <c:pt idx="18">
                  <c:v>1710</c:v>
                </c:pt>
                <c:pt idx="19">
                  <c:v>2146</c:v>
                </c:pt>
                <c:pt idx="20">
                  <c:v>1696</c:v>
                </c:pt>
                <c:pt idx="21">
                  <c:v>1956</c:v>
                </c:pt>
                <c:pt idx="22">
                  <c:v>1819</c:v>
                </c:pt>
                <c:pt idx="23">
                  <c:v>1969</c:v>
                </c:pt>
                <c:pt idx="24">
                  <c:v>2005</c:v>
                </c:pt>
                <c:pt idx="25">
                  <c:v>1825</c:v>
                </c:pt>
                <c:pt idx="26">
                  <c:v>1685</c:v>
                </c:pt>
                <c:pt idx="27">
                  <c:v>2152</c:v>
                </c:pt>
                <c:pt idx="28">
                  <c:v>2005</c:v>
                </c:pt>
                <c:pt idx="29">
                  <c:v>1780</c:v>
                </c:pt>
                <c:pt idx="30">
                  <c:v>2167</c:v>
                </c:pt>
                <c:pt idx="31">
                  <c:v>1817</c:v>
                </c:pt>
                <c:pt idx="32">
                  <c:v>1882</c:v>
                </c:pt>
                <c:pt idx="33">
                  <c:v>2507</c:v>
                </c:pt>
                <c:pt idx="34">
                  <c:v>2231</c:v>
                </c:pt>
                <c:pt idx="35">
                  <c:v>2538</c:v>
                </c:pt>
                <c:pt idx="36">
                  <c:v>2377</c:v>
                </c:pt>
                <c:pt idx="37">
                  <c:v>2222</c:v>
                </c:pt>
                <c:pt idx="38">
                  <c:v>2145</c:v>
                </c:pt>
                <c:pt idx="39">
                  <c:v>2765</c:v>
                </c:pt>
                <c:pt idx="40">
                  <c:v>2545</c:v>
                </c:pt>
                <c:pt idx="41">
                  <c:v>1854</c:v>
                </c:pt>
                <c:pt idx="42">
                  <c:v>2565</c:v>
                </c:pt>
                <c:pt idx="43">
                  <c:v>2003</c:v>
                </c:pt>
                <c:pt idx="44">
                  <c:v>2540</c:v>
                </c:pt>
                <c:pt idx="45">
                  <c:v>2537</c:v>
                </c:pt>
                <c:pt idx="46">
                  <c:v>2257</c:v>
                </c:pt>
                <c:pt idx="47">
                  <c:v>2845</c:v>
                </c:pt>
                <c:pt idx="48">
                  <c:v>2290</c:v>
                </c:pt>
                <c:pt idx="49">
                  <c:v>2166</c:v>
                </c:pt>
                <c:pt idx="50">
                  <c:v>2360</c:v>
                </c:pt>
                <c:pt idx="51">
                  <c:v>1966</c:v>
                </c:pt>
                <c:pt idx="52">
                  <c:v>1942</c:v>
                </c:pt>
                <c:pt idx="53">
                  <c:v>2103</c:v>
                </c:pt>
                <c:pt idx="54">
                  <c:v>1903</c:v>
                </c:pt>
                <c:pt idx="55">
                  <c:v>1722</c:v>
                </c:pt>
                <c:pt idx="56">
                  <c:v>2340</c:v>
                </c:pt>
                <c:pt idx="57">
                  <c:v>1869</c:v>
                </c:pt>
                <c:pt idx="58">
                  <c:v>2026</c:v>
                </c:pt>
                <c:pt idx="59">
                  <c:v>2526</c:v>
                </c:pt>
                <c:pt idx="60">
                  <c:v>2020</c:v>
                </c:pt>
                <c:pt idx="61">
                  <c:v>1793</c:v>
                </c:pt>
                <c:pt idx="62">
                  <c:v>2308</c:v>
                </c:pt>
                <c:pt idx="63">
                  <c:v>2097</c:v>
                </c:pt>
                <c:pt idx="64">
                  <c:v>1962</c:v>
                </c:pt>
                <c:pt idx="65">
                  <c:v>2264</c:v>
                </c:pt>
                <c:pt idx="66">
                  <c:v>2243</c:v>
                </c:pt>
                <c:pt idx="67">
                  <c:v>2667</c:v>
                </c:pt>
                <c:pt idx="68">
                  <c:v>2605</c:v>
                </c:pt>
                <c:pt idx="69">
                  <c:v>2528</c:v>
                </c:pt>
                <c:pt idx="70">
                  <c:v>2899</c:v>
                </c:pt>
                <c:pt idx="71">
                  <c:v>2924</c:v>
                </c:pt>
                <c:pt idx="72">
                  <c:v>2177</c:v>
                </c:pt>
                <c:pt idx="73">
                  <c:v>3088</c:v>
                </c:pt>
                <c:pt idx="74">
                  <c:v>2674</c:v>
                </c:pt>
                <c:pt idx="75">
                  <c:v>2210</c:v>
                </c:pt>
                <c:pt idx="76">
                  <c:v>2951</c:v>
                </c:pt>
                <c:pt idx="77">
                  <c:v>2317</c:v>
                </c:pt>
                <c:pt idx="78">
                  <c:v>2443</c:v>
                </c:pt>
                <c:pt idx="79">
                  <c:v>3155</c:v>
                </c:pt>
                <c:pt idx="80">
                  <c:v>2413</c:v>
                </c:pt>
                <c:pt idx="81">
                  <c:v>2936</c:v>
                </c:pt>
                <c:pt idx="82">
                  <c:v>2902</c:v>
                </c:pt>
                <c:pt idx="83">
                  <c:v>2291</c:v>
                </c:pt>
                <c:pt idx="84">
                  <c:v>3411</c:v>
                </c:pt>
                <c:pt idx="85">
                  <c:v>2566</c:v>
                </c:pt>
                <c:pt idx="86">
                  <c:v>2633</c:v>
                </c:pt>
                <c:pt idx="87">
                  <c:v>2673</c:v>
                </c:pt>
                <c:pt idx="88">
                  <c:v>3059</c:v>
                </c:pt>
                <c:pt idx="89">
                  <c:v>2307</c:v>
                </c:pt>
                <c:pt idx="90">
                  <c:v>2696</c:v>
                </c:pt>
                <c:pt idx="91">
                  <c:v>2561</c:v>
                </c:pt>
                <c:pt idx="92">
                  <c:v>2399</c:v>
                </c:pt>
                <c:pt idx="93">
                  <c:v>2731</c:v>
                </c:pt>
                <c:pt idx="94">
                  <c:v>2449</c:v>
                </c:pt>
                <c:pt idx="96">
                  <c:v>3463</c:v>
                </c:pt>
                <c:pt idx="97">
                  <c:v>2286</c:v>
                </c:pt>
                <c:pt idx="98">
                  <c:v>2345</c:v>
                </c:pt>
                <c:pt idx="99">
                  <c:v>2716</c:v>
                </c:pt>
                <c:pt idx="100">
                  <c:v>2240</c:v>
                </c:pt>
                <c:pt idx="101">
                  <c:v>1889</c:v>
                </c:pt>
                <c:pt idx="102">
                  <c:v>2785</c:v>
                </c:pt>
                <c:pt idx="103">
                  <c:v>2337</c:v>
                </c:pt>
                <c:pt idx="104">
                  <c:v>2086</c:v>
                </c:pt>
                <c:pt idx="105">
                  <c:v>3251</c:v>
                </c:pt>
                <c:pt idx="106">
                  <c:v>2555</c:v>
                </c:pt>
                <c:pt idx="107">
                  <c:v>3065</c:v>
                </c:pt>
                <c:pt idx="108">
                  <c:v>2988</c:v>
                </c:pt>
                <c:pt idx="109">
                  <c:v>3023</c:v>
                </c:pt>
                <c:pt idx="110">
                  <c:v>2961</c:v>
                </c:pt>
                <c:pt idx="111">
                  <c:v>3655</c:v>
                </c:pt>
                <c:pt idx="112">
                  <c:v>3213</c:v>
                </c:pt>
                <c:pt idx="113">
                  <c:v>3219</c:v>
                </c:pt>
                <c:pt idx="114">
                  <c:v>4257</c:v>
                </c:pt>
                <c:pt idx="115">
                  <c:v>2890</c:v>
                </c:pt>
                <c:pt idx="116">
                  <c:v>3628</c:v>
                </c:pt>
                <c:pt idx="117">
                  <c:v>4238</c:v>
                </c:pt>
                <c:pt idx="118">
                  <c:v>3261</c:v>
                </c:pt>
                <c:pt idx="119">
                  <c:v>3770</c:v>
                </c:pt>
                <c:pt idx="120">
                  <c:v>3214</c:v>
                </c:pt>
                <c:pt idx="121">
                  <c:v>3120</c:v>
                </c:pt>
                <c:pt idx="122">
                  <c:v>3673</c:v>
                </c:pt>
                <c:pt idx="123">
                  <c:v>3422</c:v>
                </c:pt>
                <c:pt idx="124">
                  <c:v>2568</c:v>
                </c:pt>
                <c:pt idx="125">
                  <c:v>2684</c:v>
                </c:pt>
                <c:pt idx="126">
                  <c:v>1872</c:v>
                </c:pt>
                <c:pt idx="127">
                  <c:v>2844</c:v>
                </c:pt>
                <c:pt idx="128">
                  <c:v>2036</c:v>
                </c:pt>
                <c:pt idx="129">
                  <c:v>1025</c:v>
                </c:pt>
                <c:pt idx="130">
                  <c:v>1971</c:v>
                </c:pt>
                <c:pt idx="131">
                  <c:v>2200</c:v>
                </c:pt>
                <c:pt idx="132">
                  <c:v>1858</c:v>
                </c:pt>
                <c:pt idx="133">
                  <c:v>2208</c:v>
                </c:pt>
                <c:pt idx="134">
                  <c:v>2861</c:v>
                </c:pt>
                <c:pt idx="135">
                  <c:v>1958</c:v>
                </c:pt>
                <c:pt idx="136">
                  <c:v>1939</c:v>
                </c:pt>
                <c:pt idx="137">
                  <c:v>4104</c:v>
                </c:pt>
                <c:pt idx="138">
                  <c:v>2464</c:v>
                </c:pt>
                <c:pt idx="139">
                  <c:v>3432</c:v>
                </c:pt>
                <c:pt idx="140">
                  <c:v>3558</c:v>
                </c:pt>
                <c:pt idx="141">
                  <c:v>3142</c:v>
                </c:pt>
                <c:pt idx="142">
                  <c:v>4612</c:v>
                </c:pt>
                <c:pt idx="143">
                  <c:v>4460</c:v>
                </c:pt>
                <c:pt idx="144">
                  <c:v>4903</c:v>
                </c:pt>
                <c:pt idx="145">
                  <c:v>4081</c:v>
                </c:pt>
                <c:pt idx="146">
                  <c:v>4987</c:v>
                </c:pt>
                <c:pt idx="147">
                  <c:v>4476</c:v>
                </c:pt>
                <c:pt idx="148">
                  <c:v>9295</c:v>
                </c:pt>
                <c:pt idx="149">
                  <c:v>6319</c:v>
                </c:pt>
                <c:pt idx="150">
                  <c:v>6180</c:v>
                </c:pt>
                <c:pt idx="151">
                  <c:v>6892</c:v>
                </c:pt>
                <c:pt idx="152">
                  <c:v>6650</c:v>
                </c:pt>
                <c:pt idx="153">
                  <c:v>7856</c:v>
                </c:pt>
                <c:pt idx="154">
                  <c:v>8121</c:v>
                </c:pt>
                <c:pt idx="155">
                  <c:v>7921</c:v>
                </c:pt>
                <c:pt idx="156">
                  <c:v>9350</c:v>
                </c:pt>
                <c:pt idx="157">
                  <c:v>7393</c:v>
                </c:pt>
                <c:pt idx="158">
                  <c:v>7336</c:v>
                </c:pt>
                <c:pt idx="159">
                  <c:v>7199</c:v>
                </c:pt>
                <c:pt idx="160">
                  <c:v>8839</c:v>
                </c:pt>
                <c:pt idx="161">
                  <c:v>6751</c:v>
                </c:pt>
                <c:pt idx="162">
                  <c:v>7030</c:v>
                </c:pt>
                <c:pt idx="163">
                  <c:v>6409</c:v>
                </c:pt>
                <c:pt idx="164">
                  <c:v>63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0BA-4B2A-8A25-99E0B9831AEC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4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70BA-4B2A-8A25-99E0B9831AEC}"/>
              </c:ext>
            </c:extLst>
          </c:dPt>
          <c:dPt>
            <c:idx val="20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70BA-4B2A-8A25-99E0B9831AEC}"/>
              </c:ext>
            </c:extLst>
          </c:dPt>
          <c:cat>
            <c:strRef>
              <c:f>'Net revocations-M'!$A$133:$A$297</c:f>
              <c:strCache>
                <c:ptCount val="165"/>
                <c:pt idx="0">
                  <c:v>2010</c:v>
                </c:pt>
                <c:pt idx="1">
                  <c:v>Feb-10</c:v>
                </c:pt>
                <c:pt idx="2">
                  <c:v>Mar-10</c:v>
                </c:pt>
                <c:pt idx="3">
                  <c:v>Apr-10</c:v>
                </c:pt>
                <c:pt idx="4">
                  <c:v>May-10</c:v>
                </c:pt>
                <c:pt idx="5">
                  <c:v>Jun-10</c:v>
                </c:pt>
                <c:pt idx="6">
                  <c:v>Jul-10</c:v>
                </c:pt>
                <c:pt idx="7">
                  <c:v>Aug-10</c:v>
                </c:pt>
                <c:pt idx="8">
                  <c:v>Sep-10</c:v>
                </c:pt>
                <c:pt idx="9">
                  <c:v>Oct-10</c:v>
                </c:pt>
                <c:pt idx="10">
                  <c:v>Nov-10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  <c:pt idx="164">
                  <c:v>23-Sep</c:v>
                </c:pt>
              </c:strCache>
            </c:strRef>
          </c:cat>
          <c:val>
            <c:numRef>
              <c:f>'Net revocations-M'!$C$133:$C$287</c:f>
              <c:numCache>
                <c:formatCode>General</c:formatCode>
                <c:ptCount val="155"/>
              </c:numCache>
            </c:numRef>
          </c:val>
          <c:extLst>
            <c:ext xmlns:c16="http://schemas.microsoft.com/office/drawing/2014/chart" uri="{C3380CC4-5D6E-409C-BE32-E72D297353CC}">
              <c16:uniqueId val="{00000005-70BA-4B2A-8A25-99E0B9831AE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overlap val="100"/>
        <c:axId val="491790992"/>
        <c:axId val="491790336"/>
      </c:bar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New for-hire motor property authority minus net revocations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8.0348529803339813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8.1696741032370956E-2"/>
          <c:y val="7.3084546779695836E-2"/>
          <c:w val="0.88534111621463984"/>
          <c:h val="0.74508030748990017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strRef>
              <c:f>'Net change in carriers'!$A$133:$A$298</c:f>
              <c:strCache>
                <c:ptCount val="165"/>
                <c:pt idx="0">
                  <c:v>2010</c:v>
                </c:pt>
                <c:pt idx="1">
                  <c:v>Feb-10</c:v>
                </c:pt>
                <c:pt idx="2">
                  <c:v>Mar-10</c:v>
                </c:pt>
                <c:pt idx="3">
                  <c:v>Apr-10</c:v>
                </c:pt>
                <c:pt idx="4">
                  <c:v>May-10</c:v>
                </c:pt>
                <c:pt idx="5">
                  <c:v>Jun-10</c:v>
                </c:pt>
                <c:pt idx="6">
                  <c:v>Jul-10</c:v>
                </c:pt>
                <c:pt idx="7">
                  <c:v>Aug-10</c:v>
                </c:pt>
                <c:pt idx="8">
                  <c:v>Sep-10</c:v>
                </c:pt>
                <c:pt idx="9">
                  <c:v>Oct-10</c:v>
                </c:pt>
                <c:pt idx="10">
                  <c:v>Nov-10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  <c:pt idx="164">
                  <c:v>23-Sep</c:v>
                </c:pt>
              </c:strCache>
            </c:strRef>
          </c:cat>
          <c:val>
            <c:numRef>
              <c:f>'Net change in carriers'!$B$133:$B$298</c:f>
              <c:numCache>
                <c:formatCode>#,##0_);[Red]\(#,##0\)</c:formatCode>
                <c:ptCount val="166"/>
                <c:pt idx="0">
                  <c:v>-660</c:v>
                </c:pt>
                <c:pt idx="1">
                  <c:v>-958</c:v>
                </c:pt>
                <c:pt idx="2">
                  <c:v>-414</c:v>
                </c:pt>
                <c:pt idx="3">
                  <c:v>431</c:v>
                </c:pt>
                <c:pt idx="4">
                  <c:v>380</c:v>
                </c:pt>
                <c:pt idx="5">
                  <c:v>-1070</c:v>
                </c:pt>
                <c:pt idx="6">
                  <c:v>-337</c:v>
                </c:pt>
                <c:pt idx="7">
                  <c:v>235</c:v>
                </c:pt>
                <c:pt idx="8">
                  <c:v>62</c:v>
                </c:pt>
                <c:pt idx="9">
                  <c:v>108</c:v>
                </c:pt>
                <c:pt idx="10">
                  <c:v>-213</c:v>
                </c:pt>
                <c:pt idx="11">
                  <c:v>-12</c:v>
                </c:pt>
                <c:pt idx="12">
                  <c:v>-325</c:v>
                </c:pt>
                <c:pt idx="13">
                  <c:v>-187</c:v>
                </c:pt>
                <c:pt idx="14">
                  <c:v>512</c:v>
                </c:pt>
                <c:pt idx="15">
                  <c:v>642</c:v>
                </c:pt>
                <c:pt idx="16">
                  <c:v>-351</c:v>
                </c:pt>
                <c:pt idx="17">
                  <c:v>499</c:v>
                </c:pt>
                <c:pt idx="18">
                  <c:v>536</c:v>
                </c:pt>
                <c:pt idx="19">
                  <c:v>162</c:v>
                </c:pt>
                <c:pt idx="20">
                  <c:v>691</c:v>
                </c:pt>
                <c:pt idx="21">
                  <c:v>245</c:v>
                </c:pt>
                <c:pt idx="22">
                  <c:v>193</c:v>
                </c:pt>
                <c:pt idx="23">
                  <c:v>-24</c:v>
                </c:pt>
                <c:pt idx="24">
                  <c:v>263</c:v>
                </c:pt>
                <c:pt idx="25">
                  <c:v>558</c:v>
                </c:pt>
                <c:pt idx="26">
                  <c:v>1572</c:v>
                </c:pt>
                <c:pt idx="27">
                  <c:v>306</c:v>
                </c:pt>
                <c:pt idx="28">
                  <c:v>612</c:v>
                </c:pt>
                <c:pt idx="29">
                  <c:v>783</c:v>
                </c:pt>
                <c:pt idx="30">
                  <c:v>-30</c:v>
                </c:pt>
                <c:pt idx="31">
                  <c:v>714</c:v>
                </c:pt>
                <c:pt idx="32">
                  <c:v>131</c:v>
                </c:pt>
                <c:pt idx="33">
                  <c:v>-190</c:v>
                </c:pt>
                <c:pt idx="34">
                  <c:v>-156</c:v>
                </c:pt>
                <c:pt idx="35">
                  <c:v>-665</c:v>
                </c:pt>
                <c:pt idx="36">
                  <c:v>-182</c:v>
                </c:pt>
                <c:pt idx="37">
                  <c:v>28</c:v>
                </c:pt>
                <c:pt idx="38">
                  <c:v>558</c:v>
                </c:pt>
                <c:pt idx="39">
                  <c:v>-133</c:v>
                </c:pt>
                <c:pt idx="40">
                  <c:v>202</c:v>
                </c:pt>
                <c:pt idx="41">
                  <c:v>545</c:v>
                </c:pt>
                <c:pt idx="42">
                  <c:v>-239</c:v>
                </c:pt>
                <c:pt idx="43">
                  <c:v>510</c:v>
                </c:pt>
                <c:pt idx="44">
                  <c:v>-457</c:v>
                </c:pt>
                <c:pt idx="45">
                  <c:v>-216</c:v>
                </c:pt>
                <c:pt idx="46">
                  <c:v>-193</c:v>
                </c:pt>
                <c:pt idx="47">
                  <c:v>-853</c:v>
                </c:pt>
                <c:pt idx="48">
                  <c:v>-78</c:v>
                </c:pt>
                <c:pt idx="49">
                  <c:v>45</c:v>
                </c:pt>
                <c:pt idx="50">
                  <c:v>302</c:v>
                </c:pt>
                <c:pt idx="51">
                  <c:v>1126</c:v>
                </c:pt>
                <c:pt idx="52">
                  <c:v>1120</c:v>
                </c:pt>
                <c:pt idx="53">
                  <c:v>745</c:v>
                </c:pt>
                <c:pt idx="54">
                  <c:v>861</c:v>
                </c:pt>
                <c:pt idx="55">
                  <c:v>1031</c:v>
                </c:pt>
                <c:pt idx="56">
                  <c:v>340</c:v>
                </c:pt>
                <c:pt idx="57">
                  <c:v>1260</c:v>
                </c:pt>
                <c:pt idx="58">
                  <c:v>323</c:v>
                </c:pt>
                <c:pt idx="59">
                  <c:v>81</c:v>
                </c:pt>
                <c:pt idx="60">
                  <c:v>494</c:v>
                </c:pt>
                <c:pt idx="61">
                  <c:v>895</c:v>
                </c:pt>
                <c:pt idx="62">
                  <c:v>1109</c:v>
                </c:pt>
                <c:pt idx="63">
                  <c:v>1563</c:v>
                </c:pt>
                <c:pt idx="64">
                  <c:v>1300</c:v>
                </c:pt>
                <c:pt idx="65">
                  <c:v>1226</c:v>
                </c:pt>
                <c:pt idx="66">
                  <c:v>1089</c:v>
                </c:pt>
                <c:pt idx="67">
                  <c:v>232</c:v>
                </c:pt>
                <c:pt idx="68">
                  <c:v>328</c:v>
                </c:pt>
                <c:pt idx="69">
                  <c:v>534</c:v>
                </c:pt>
                <c:pt idx="70">
                  <c:v>-371</c:v>
                </c:pt>
                <c:pt idx="71">
                  <c:v>-394</c:v>
                </c:pt>
                <c:pt idx="72">
                  <c:v>315</c:v>
                </c:pt>
                <c:pt idx="73">
                  <c:v>-76</c:v>
                </c:pt>
                <c:pt idx="74">
                  <c:v>782</c:v>
                </c:pt>
                <c:pt idx="75">
                  <c:v>1257</c:v>
                </c:pt>
                <c:pt idx="76">
                  <c:v>295</c:v>
                </c:pt>
                <c:pt idx="77">
                  <c:v>1020</c:v>
                </c:pt>
                <c:pt idx="78">
                  <c:v>396</c:v>
                </c:pt>
                <c:pt idx="79">
                  <c:v>-208</c:v>
                </c:pt>
                <c:pt idx="80">
                  <c:v>555</c:v>
                </c:pt>
                <c:pt idx="81">
                  <c:v>-216</c:v>
                </c:pt>
                <c:pt idx="82">
                  <c:v>-568</c:v>
                </c:pt>
                <c:pt idx="83">
                  <c:v>-229</c:v>
                </c:pt>
                <c:pt idx="84">
                  <c:v>-1110</c:v>
                </c:pt>
                <c:pt idx="85">
                  <c:v>28</c:v>
                </c:pt>
                <c:pt idx="86">
                  <c:v>458</c:v>
                </c:pt>
                <c:pt idx="87">
                  <c:v>565</c:v>
                </c:pt>
                <c:pt idx="88">
                  <c:v>195</c:v>
                </c:pt>
                <c:pt idx="89">
                  <c:v>1009</c:v>
                </c:pt>
                <c:pt idx="90">
                  <c:v>82</c:v>
                </c:pt>
                <c:pt idx="91">
                  <c:v>691</c:v>
                </c:pt>
                <c:pt idx="92">
                  <c:v>490</c:v>
                </c:pt>
                <c:pt idx="93">
                  <c:v>514</c:v>
                </c:pt>
                <c:pt idx="94">
                  <c:v>647</c:v>
                </c:pt>
                <c:pt idx="96">
                  <c:v>-577</c:v>
                </c:pt>
                <c:pt idx="97">
                  <c:v>659</c:v>
                </c:pt>
                <c:pt idx="98">
                  <c:v>1340</c:v>
                </c:pt>
                <c:pt idx="99">
                  <c:v>1275</c:v>
                </c:pt>
                <c:pt idx="100">
                  <c:v>1862</c:v>
                </c:pt>
                <c:pt idx="101">
                  <c:v>2146</c:v>
                </c:pt>
                <c:pt idx="102">
                  <c:v>781</c:v>
                </c:pt>
                <c:pt idx="103">
                  <c:v>1936</c:v>
                </c:pt>
                <c:pt idx="104">
                  <c:v>1439</c:v>
                </c:pt>
                <c:pt idx="105">
                  <c:v>955</c:v>
                </c:pt>
                <c:pt idx="106">
                  <c:v>1121</c:v>
                </c:pt>
                <c:pt idx="107">
                  <c:v>-2</c:v>
                </c:pt>
                <c:pt idx="108">
                  <c:v>491</c:v>
                </c:pt>
                <c:pt idx="109">
                  <c:v>342</c:v>
                </c:pt>
                <c:pt idx="110">
                  <c:v>1031</c:v>
                </c:pt>
                <c:pt idx="111">
                  <c:v>388</c:v>
                </c:pt>
                <c:pt idx="112">
                  <c:v>754</c:v>
                </c:pt>
                <c:pt idx="113">
                  <c:v>498</c:v>
                </c:pt>
                <c:pt idx="114">
                  <c:v>-624</c:v>
                </c:pt>
                <c:pt idx="115">
                  <c:v>883</c:v>
                </c:pt>
                <c:pt idx="116">
                  <c:v>-338</c:v>
                </c:pt>
                <c:pt idx="117">
                  <c:v>-434</c:v>
                </c:pt>
                <c:pt idx="118">
                  <c:v>-104</c:v>
                </c:pt>
                <c:pt idx="119">
                  <c:v>-459</c:v>
                </c:pt>
                <c:pt idx="120">
                  <c:v>470</c:v>
                </c:pt>
                <c:pt idx="121">
                  <c:v>249</c:v>
                </c:pt>
                <c:pt idx="122">
                  <c:v>307</c:v>
                </c:pt>
                <c:pt idx="123">
                  <c:v>-54</c:v>
                </c:pt>
                <c:pt idx="124">
                  <c:v>636</c:v>
                </c:pt>
                <c:pt idx="125">
                  <c:v>1297</c:v>
                </c:pt>
                <c:pt idx="126">
                  <c:v>3524</c:v>
                </c:pt>
                <c:pt idx="127">
                  <c:v>2682</c:v>
                </c:pt>
                <c:pt idx="128">
                  <c:v>4390</c:v>
                </c:pt>
                <c:pt idx="129">
                  <c:v>6711</c:v>
                </c:pt>
                <c:pt idx="130">
                  <c:v>4494</c:v>
                </c:pt>
                <c:pt idx="131">
                  <c:v>4203</c:v>
                </c:pt>
                <c:pt idx="132">
                  <c:v>4213</c:v>
                </c:pt>
                <c:pt idx="133">
                  <c:v>4500</c:v>
                </c:pt>
                <c:pt idx="134">
                  <c:v>5755</c:v>
                </c:pt>
                <c:pt idx="135">
                  <c:v>8256</c:v>
                </c:pt>
                <c:pt idx="136">
                  <c:v>7589</c:v>
                </c:pt>
                <c:pt idx="137">
                  <c:v>6116</c:v>
                </c:pt>
                <c:pt idx="138">
                  <c:v>7702</c:v>
                </c:pt>
                <c:pt idx="139">
                  <c:v>6876</c:v>
                </c:pt>
                <c:pt idx="140">
                  <c:v>6381</c:v>
                </c:pt>
                <c:pt idx="141">
                  <c:v>7100</c:v>
                </c:pt>
                <c:pt idx="142">
                  <c:v>4525</c:v>
                </c:pt>
                <c:pt idx="143">
                  <c:v>4131</c:v>
                </c:pt>
                <c:pt idx="144">
                  <c:v>3661</c:v>
                </c:pt>
                <c:pt idx="145">
                  <c:v>5044</c:v>
                </c:pt>
                <c:pt idx="146">
                  <c:v>5917</c:v>
                </c:pt>
                <c:pt idx="147">
                  <c:v>5064</c:v>
                </c:pt>
                <c:pt idx="148">
                  <c:v>-927</c:v>
                </c:pt>
                <c:pt idx="149">
                  <c:v>1643</c:v>
                </c:pt>
                <c:pt idx="150">
                  <c:v>1017</c:v>
                </c:pt>
                <c:pt idx="151">
                  <c:v>1250</c:v>
                </c:pt>
                <c:pt idx="152">
                  <c:v>1577</c:v>
                </c:pt>
                <c:pt idx="153">
                  <c:v>-485</c:v>
                </c:pt>
                <c:pt idx="154">
                  <c:v>-1587</c:v>
                </c:pt>
                <c:pt idx="155">
                  <c:v>-1980</c:v>
                </c:pt>
                <c:pt idx="156">
                  <c:v>-3464</c:v>
                </c:pt>
                <c:pt idx="157">
                  <c:v>-1126</c:v>
                </c:pt>
                <c:pt idx="158">
                  <c:v>142</c:v>
                </c:pt>
                <c:pt idx="159">
                  <c:v>-1296</c:v>
                </c:pt>
                <c:pt idx="160">
                  <c:v>-3058</c:v>
                </c:pt>
                <c:pt idx="161">
                  <c:v>-757</c:v>
                </c:pt>
                <c:pt idx="162">
                  <c:v>-1938</c:v>
                </c:pt>
                <c:pt idx="163">
                  <c:v>-1129</c:v>
                </c:pt>
                <c:pt idx="164">
                  <c:v>-123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EBB-4378-91EC-B9328BBA0B04}"/>
            </c:ext>
          </c:extLst>
        </c:ser>
        <c:ser>
          <c:idx val="1"/>
          <c:order val="1"/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dPt>
            <c:idx val="14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EEBB-4378-91EC-B9328BBA0B04}"/>
              </c:ext>
            </c:extLst>
          </c:dPt>
          <c:dPt>
            <c:idx val="208"/>
            <c:invertIfNegative val="0"/>
            <c:bubble3D val="0"/>
            <c:spPr>
              <a:solidFill>
                <a:schemeClr val="accent6">
                  <a:lumMod val="60000"/>
                  <a:lumOff val="4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EEBB-4378-91EC-B9328BBA0B04}"/>
              </c:ext>
            </c:extLst>
          </c:dPt>
          <c:cat>
            <c:strRef>
              <c:f>'Net change in carriers'!$A$133:$A$298</c:f>
              <c:strCache>
                <c:ptCount val="165"/>
                <c:pt idx="0">
                  <c:v>2010</c:v>
                </c:pt>
                <c:pt idx="1">
                  <c:v>Feb-10</c:v>
                </c:pt>
                <c:pt idx="2">
                  <c:v>Mar-10</c:v>
                </c:pt>
                <c:pt idx="3">
                  <c:v>Apr-10</c:v>
                </c:pt>
                <c:pt idx="4">
                  <c:v>May-10</c:v>
                </c:pt>
                <c:pt idx="5">
                  <c:v>Jun-10</c:v>
                </c:pt>
                <c:pt idx="6">
                  <c:v>Jul-10</c:v>
                </c:pt>
                <c:pt idx="7">
                  <c:v>Aug-10</c:v>
                </c:pt>
                <c:pt idx="8">
                  <c:v>Sep-10</c:v>
                </c:pt>
                <c:pt idx="9">
                  <c:v>Oct-10</c:v>
                </c:pt>
                <c:pt idx="10">
                  <c:v>Nov-10</c:v>
                </c:pt>
                <c:pt idx="11">
                  <c:v>10-Dec</c:v>
                </c:pt>
                <c:pt idx="12">
                  <c:v>2011</c:v>
                </c:pt>
                <c:pt idx="13">
                  <c:v>11-Feb</c:v>
                </c:pt>
                <c:pt idx="14">
                  <c:v>11-Mar</c:v>
                </c:pt>
                <c:pt idx="15">
                  <c:v>11-Apr</c:v>
                </c:pt>
                <c:pt idx="16">
                  <c:v>11-May</c:v>
                </c:pt>
                <c:pt idx="17">
                  <c:v>11-Jun</c:v>
                </c:pt>
                <c:pt idx="18">
                  <c:v>11-Jul</c:v>
                </c:pt>
                <c:pt idx="19">
                  <c:v>11-Aug</c:v>
                </c:pt>
                <c:pt idx="20">
                  <c:v>11-Sep</c:v>
                </c:pt>
                <c:pt idx="21">
                  <c:v>11-Oct</c:v>
                </c:pt>
                <c:pt idx="22">
                  <c:v>11-Nov</c:v>
                </c:pt>
                <c:pt idx="23">
                  <c:v>11-Dec</c:v>
                </c:pt>
                <c:pt idx="24">
                  <c:v>2012</c:v>
                </c:pt>
                <c:pt idx="25">
                  <c:v>12-Feb</c:v>
                </c:pt>
                <c:pt idx="26">
                  <c:v>12-Mar</c:v>
                </c:pt>
                <c:pt idx="27">
                  <c:v>12-Apr</c:v>
                </c:pt>
                <c:pt idx="28">
                  <c:v>12-May</c:v>
                </c:pt>
                <c:pt idx="29">
                  <c:v>12-Jun</c:v>
                </c:pt>
                <c:pt idx="30">
                  <c:v>12-Jul</c:v>
                </c:pt>
                <c:pt idx="31">
                  <c:v>12-Aug</c:v>
                </c:pt>
                <c:pt idx="32">
                  <c:v>12-Sep</c:v>
                </c:pt>
                <c:pt idx="33">
                  <c:v>12-Oct</c:v>
                </c:pt>
                <c:pt idx="34">
                  <c:v>12-Nov</c:v>
                </c:pt>
                <c:pt idx="35">
                  <c:v>12-Dec</c:v>
                </c:pt>
                <c:pt idx="36">
                  <c:v>2013</c:v>
                </c:pt>
                <c:pt idx="37">
                  <c:v>13-Feb</c:v>
                </c:pt>
                <c:pt idx="38">
                  <c:v>13-Mar</c:v>
                </c:pt>
                <c:pt idx="39">
                  <c:v>13-Apr</c:v>
                </c:pt>
                <c:pt idx="40">
                  <c:v>13-May</c:v>
                </c:pt>
                <c:pt idx="41">
                  <c:v>13-Jun</c:v>
                </c:pt>
                <c:pt idx="42">
                  <c:v>13-Jul</c:v>
                </c:pt>
                <c:pt idx="43">
                  <c:v>13-Aug</c:v>
                </c:pt>
                <c:pt idx="44">
                  <c:v>13-Sep</c:v>
                </c:pt>
                <c:pt idx="45">
                  <c:v>13-Oct</c:v>
                </c:pt>
                <c:pt idx="46">
                  <c:v>13-Nov</c:v>
                </c:pt>
                <c:pt idx="47">
                  <c:v>13-Dec</c:v>
                </c:pt>
                <c:pt idx="48">
                  <c:v>2014</c:v>
                </c:pt>
                <c:pt idx="49">
                  <c:v>14-Feb</c:v>
                </c:pt>
                <c:pt idx="50">
                  <c:v>14-Mar</c:v>
                </c:pt>
                <c:pt idx="51">
                  <c:v>14-Apr</c:v>
                </c:pt>
                <c:pt idx="52">
                  <c:v>14-May</c:v>
                </c:pt>
                <c:pt idx="53">
                  <c:v>14-Jun</c:v>
                </c:pt>
                <c:pt idx="54">
                  <c:v>14-Jul</c:v>
                </c:pt>
                <c:pt idx="55">
                  <c:v>14-Aug</c:v>
                </c:pt>
                <c:pt idx="56">
                  <c:v>14-Sep</c:v>
                </c:pt>
                <c:pt idx="57">
                  <c:v>14-Oct</c:v>
                </c:pt>
                <c:pt idx="58">
                  <c:v>14-Nov</c:v>
                </c:pt>
                <c:pt idx="59">
                  <c:v>14-Dec</c:v>
                </c:pt>
                <c:pt idx="60">
                  <c:v>2015</c:v>
                </c:pt>
                <c:pt idx="61">
                  <c:v>15-Feb</c:v>
                </c:pt>
                <c:pt idx="62">
                  <c:v>15-Mar</c:v>
                </c:pt>
                <c:pt idx="63">
                  <c:v>15-Apr</c:v>
                </c:pt>
                <c:pt idx="64">
                  <c:v>15-May</c:v>
                </c:pt>
                <c:pt idx="65">
                  <c:v>15-Jun</c:v>
                </c:pt>
                <c:pt idx="66">
                  <c:v>15-Jul</c:v>
                </c:pt>
                <c:pt idx="67">
                  <c:v>15-Aug</c:v>
                </c:pt>
                <c:pt idx="68">
                  <c:v>15-Sep</c:v>
                </c:pt>
                <c:pt idx="69">
                  <c:v>15-Oct</c:v>
                </c:pt>
                <c:pt idx="70">
                  <c:v>15-Nov</c:v>
                </c:pt>
                <c:pt idx="71">
                  <c:v>15-Dec</c:v>
                </c:pt>
                <c:pt idx="72">
                  <c:v>2016</c:v>
                </c:pt>
                <c:pt idx="73">
                  <c:v>16-Feb</c:v>
                </c:pt>
                <c:pt idx="74">
                  <c:v>16-Mar</c:v>
                </c:pt>
                <c:pt idx="75">
                  <c:v>16-Apr</c:v>
                </c:pt>
                <c:pt idx="76">
                  <c:v>16-May</c:v>
                </c:pt>
                <c:pt idx="77">
                  <c:v>16-Jun</c:v>
                </c:pt>
                <c:pt idx="78">
                  <c:v>16-Jul</c:v>
                </c:pt>
                <c:pt idx="79">
                  <c:v>16-Aug</c:v>
                </c:pt>
                <c:pt idx="80">
                  <c:v>16-Sep</c:v>
                </c:pt>
                <c:pt idx="81">
                  <c:v>16-Oct</c:v>
                </c:pt>
                <c:pt idx="82">
                  <c:v>16-Nov</c:v>
                </c:pt>
                <c:pt idx="83">
                  <c:v>16-Dec</c:v>
                </c:pt>
                <c:pt idx="84">
                  <c:v>2017</c:v>
                </c:pt>
                <c:pt idx="85">
                  <c:v>17-Feb</c:v>
                </c:pt>
                <c:pt idx="86">
                  <c:v>17-Mar</c:v>
                </c:pt>
                <c:pt idx="87">
                  <c:v>17-Apr</c:v>
                </c:pt>
                <c:pt idx="88">
                  <c:v>17-May</c:v>
                </c:pt>
                <c:pt idx="89">
                  <c:v>17-Jun</c:v>
                </c:pt>
                <c:pt idx="90">
                  <c:v>17-Jul</c:v>
                </c:pt>
                <c:pt idx="91">
                  <c:v>17-Aug</c:v>
                </c:pt>
                <c:pt idx="92">
                  <c:v>17-Sep</c:v>
                </c:pt>
                <c:pt idx="93">
                  <c:v>17-Oct</c:v>
                </c:pt>
                <c:pt idx="94">
                  <c:v>17-Nov</c:v>
                </c:pt>
                <c:pt idx="95">
                  <c:v>17-Dec</c:v>
                </c:pt>
                <c:pt idx="96">
                  <c:v>2018</c:v>
                </c:pt>
                <c:pt idx="97">
                  <c:v>18-Feb</c:v>
                </c:pt>
                <c:pt idx="98">
                  <c:v>18-Mar</c:v>
                </c:pt>
                <c:pt idx="99">
                  <c:v>18-Apr</c:v>
                </c:pt>
                <c:pt idx="100">
                  <c:v>18-May</c:v>
                </c:pt>
                <c:pt idx="101">
                  <c:v>18-Jun</c:v>
                </c:pt>
                <c:pt idx="102">
                  <c:v>18-Jul</c:v>
                </c:pt>
                <c:pt idx="103">
                  <c:v>18-Aug</c:v>
                </c:pt>
                <c:pt idx="104">
                  <c:v>18-Sep</c:v>
                </c:pt>
                <c:pt idx="105">
                  <c:v>18-Oct</c:v>
                </c:pt>
                <c:pt idx="106">
                  <c:v>18-Nov</c:v>
                </c:pt>
                <c:pt idx="107">
                  <c:v>18-Dec</c:v>
                </c:pt>
                <c:pt idx="108">
                  <c:v>2019</c:v>
                </c:pt>
                <c:pt idx="109">
                  <c:v>19-Feb</c:v>
                </c:pt>
                <c:pt idx="110">
                  <c:v>19-Mar</c:v>
                </c:pt>
                <c:pt idx="111">
                  <c:v>19-Apr</c:v>
                </c:pt>
                <c:pt idx="112">
                  <c:v>19-May</c:v>
                </c:pt>
                <c:pt idx="113">
                  <c:v>19-Jun</c:v>
                </c:pt>
                <c:pt idx="114">
                  <c:v>19-Jul</c:v>
                </c:pt>
                <c:pt idx="115">
                  <c:v>19-Aug</c:v>
                </c:pt>
                <c:pt idx="116">
                  <c:v>19-Sep</c:v>
                </c:pt>
                <c:pt idx="117">
                  <c:v>19-Oct</c:v>
                </c:pt>
                <c:pt idx="118">
                  <c:v>19-Nov</c:v>
                </c:pt>
                <c:pt idx="119">
                  <c:v>19-Dec</c:v>
                </c:pt>
                <c:pt idx="120">
                  <c:v>2020</c:v>
                </c:pt>
                <c:pt idx="121">
                  <c:v>20-Feb</c:v>
                </c:pt>
                <c:pt idx="122">
                  <c:v>20-Mar</c:v>
                </c:pt>
                <c:pt idx="123">
                  <c:v>20-Apr</c:v>
                </c:pt>
                <c:pt idx="124">
                  <c:v>20-May</c:v>
                </c:pt>
                <c:pt idx="125">
                  <c:v>20-Jun</c:v>
                </c:pt>
                <c:pt idx="126">
                  <c:v>20-Jul</c:v>
                </c:pt>
                <c:pt idx="127">
                  <c:v>20-Aug</c:v>
                </c:pt>
                <c:pt idx="128">
                  <c:v>20-Sep</c:v>
                </c:pt>
                <c:pt idx="129">
                  <c:v>20-Oct</c:v>
                </c:pt>
                <c:pt idx="130">
                  <c:v>20-Nov</c:v>
                </c:pt>
                <c:pt idx="131">
                  <c:v>20-Dec</c:v>
                </c:pt>
                <c:pt idx="132">
                  <c:v>2021</c:v>
                </c:pt>
                <c:pt idx="133">
                  <c:v>21-Feb</c:v>
                </c:pt>
                <c:pt idx="134">
                  <c:v>21-Mar</c:v>
                </c:pt>
                <c:pt idx="135">
                  <c:v>21-Apr</c:v>
                </c:pt>
                <c:pt idx="136">
                  <c:v>21-May</c:v>
                </c:pt>
                <c:pt idx="137">
                  <c:v>21-Jun</c:v>
                </c:pt>
                <c:pt idx="138">
                  <c:v>21-Jul</c:v>
                </c:pt>
                <c:pt idx="139">
                  <c:v>21-Aug</c:v>
                </c:pt>
                <c:pt idx="140">
                  <c:v>21-Sep</c:v>
                </c:pt>
                <c:pt idx="141">
                  <c:v>21-Oct</c:v>
                </c:pt>
                <c:pt idx="142">
                  <c:v>21-Nov</c:v>
                </c:pt>
                <c:pt idx="143">
                  <c:v>21-Dec</c:v>
                </c:pt>
                <c:pt idx="144">
                  <c:v>2022</c:v>
                </c:pt>
                <c:pt idx="145">
                  <c:v>22-Feb</c:v>
                </c:pt>
                <c:pt idx="146">
                  <c:v>22-Mar</c:v>
                </c:pt>
                <c:pt idx="147">
                  <c:v>22-Apr</c:v>
                </c:pt>
                <c:pt idx="148">
                  <c:v>22-May</c:v>
                </c:pt>
                <c:pt idx="149">
                  <c:v>22-Jun</c:v>
                </c:pt>
                <c:pt idx="150">
                  <c:v>22-Jul</c:v>
                </c:pt>
                <c:pt idx="151">
                  <c:v>22-Aug</c:v>
                </c:pt>
                <c:pt idx="152">
                  <c:v>22-Sep</c:v>
                </c:pt>
                <c:pt idx="153">
                  <c:v>22-Oct</c:v>
                </c:pt>
                <c:pt idx="154">
                  <c:v>22-Nov</c:v>
                </c:pt>
                <c:pt idx="155">
                  <c:v>22-Dec</c:v>
                </c:pt>
                <c:pt idx="156">
                  <c:v>2023</c:v>
                </c:pt>
                <c:pt idx="157">
                  <c:v>23-Feb</c:v>
                </c:pt>
                <c:pt idx="158">
                  <c:v>23-Mar</c:v>
                </c:pt>
                <c:pt idx="159">
                  <c:v>23-Apr</c:v>
                </c:pt>
                <c:pt idx="160">
                  <c:v>23-May</c:v>
                </c:pt>
                <c:pt idx="161">
                  <c:v>23-Jun</c:v>
                </c:pt>
                <c:pt idx="162">
                  <c:v>23-Jul</c:v>
                </c:pt>
                <c:pt idx="163">
                  <c:v>23-Aug</c:v>
                </c:pt>
                <c:pt idx="164">
                  <c:v>23-Sep</c:v>
                </c:pt>
              </c:strCache>
            </c:strRef>
          </c:cat>
          <c:val>
            <c:numRef>
              <c:f>'Net change in carriers'!$C$133:$C$287</c:f>
              <c:numCache>
                <c:formatCode>General</c:formatCode>
                <c:ptCount val="155"/>
              </c:numCache>
            </c:numRef>
          </c:val>
          <c:extLst>
            <c:ext xmlns:c16="http://schemas.microsoft.com/office/drawing/2014/chart" uri="{C3380CC4-5D6E-409C-BE32-E72D297353CC}">
              <c16:uniqueId val="{00000005-EEBB-4378-91EC-B9328BBA0B0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overlap val="100"/>
        <c:axId val="491790992"/>
        <c:axId val="491790336"/>
      </c:bar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3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baseline="0" dirty="0">
                <a:solidFill>
                  <a:schemeClr val="tx1"/>
                </a:solidFill>
              </a:rPr>
              <a:t>Motor property carriers having authority revoked and still not active, </a:t>
            </a:r>
            <a:r>
              <a:rPr lang="en-US" sz="1400" b="1" u="sng" baseline="0" dirty="0">
                <a:solidFill>
                  <a:schemeClr val="tx1"/>
                </a:solidFill>
              </a:rPr>
              <a:t>comparison of first 7 months</a:t>
            </a:r>
          </a:p>
        </c:rich>
      </c:tx>
      <c:layout>
        <c:manualLayout>
          <c:xMode val="edge"/>
          <c:yMode val="edge"/>
          <c:x val="7.6935410247632091E-2"/>
          <c:y val="1.8752624671916011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7155848307423114E-2"/>
          <c:y val="8.6424103237095359E-2"/>
          <c:w val="0.90757167373309111"/>
          <c:h val="0.73285695538057738"/>
        </c:manualLayout>
      </c:layout>
      <c:barChart>
        <c:barDir val="col"/>
        <c:grouping val="clustered"/>
        <c:varyColors val="0"/>
        <c:ser>
          <c:idx val="2"/>
          <c:order val="0"/>
          <c:tx>
            <c:strRef>
              <c:f>'First 7 months comp-Carriers'!$B$1</c:f>
              <c:strCache>
                <c:ptCount val="1"/>
                <c:pt idx="0">
                  <c:v>2021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0" h="0"/>
            </a:sp3d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First 7 months comp-Carriers'!$A$2:$A$5</c:f>
              <c:strCache>
                <c:ptCount val="4"/>
                <c:pt idx="0">
                  <c:v>1 to 5 trucks</c:v>
                </c:pt>
                <c:pt idx="1">
                  <c:v>6 to 100 trucks</c:v>
                </c:pt>
                <c:pt idx="2">
                  <c:v>101 or more trucks</c:v>
                </c:pt>
                <c:pt idx="3">
                  <c:v>Total</c:v>
                </c:pt>
              </c:strCache>
            </c:strRef>
          </c:cat>
          <c:val>
            <c:numRef>
              <c:f>'First 7 months comp-Carriers'!$B$2:$B$5</c:f>
              <c:numCache>
                <c:formatCode>#,##0</c:formatCode>
                <c:ptCount val="4"/>
                <c:pt idx="0">
                  <c:v>17721</c:v>
                </c:pt>
                <c:pt idx="1">
                  <c:v>948</c:v>
                </c:pt>
                <c:pt idx="2">
                  <c:v>19</c:v>
                </c:pt>
                <c:pt idx="3">
                  <c:v>1868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B3D-4361-8047-9CE5C2DDBF5F}"/>
            </c:ext>
          </c:extLst>
        </c:ser>
        <c:ser>
          <c:idx val="0"/>
          <c:order val="1"/>
          <c:tx>
            <c:strRef>
              <c:f>'First 7 months comp-Carriers'!$C$1</c:f>
              <c:strCache>
                <c:ptCount val="1"/>
                <c:pt idx="0">
                  <c:v> 2022</c:v>
                </c:pt>
              </c:strCache>
            </c:strRef>
          </c:tx>
          <c:spPr>
            <a:solidFill>
              <a:srgbClr val="358B3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0"/>
            <c:invertIfNegative val="0"/>
            <c:bubble3D val="0"/>
            <c:spPr>
              <a:solidFill>
                <a:srgbClr val="358B3B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0" h="0"/>
              </a:sp3d>
            </c:spPr>
            <c:extLst>
              <c:ext xmlns:c16="http://schemas.microsoft.com/office/drawing/2014/chart" uri="{C3380CC4-5D6E-409C-BE32-E72D297353CC}">
                <c16:uniqueId val="{00000000-5944-4543-8536-50BACF0AE465}"/>
              </c:ext>
            </c:extLst>
          </c:dPt>
          <c:dLbls>
            <c:dLbl>
              <c:idx val="1"/>
              <c:layout>
                <c:manualLayout>
                  <c:x val="-2.4154589371980675E-3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B3D-4361-8047-9CE5C2DDB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irst 7 months comp-Carriers'!$A$2:$A$5</c:f>
              <c:strCache>
                <c:ptCount val="4"/>
                <c:pt idx="0">
                  <c:v>1 to 5 trucks</c:v>
                </c:pt>
                <c:pt idx="1">
                  <c:v>6 to 100 trucks</c:v>
                </c:pt>
                <c:pt idx="2">
                  <c:v>101 or more trucks</c:v>
                </c:pt>
                <c:pt idx="3">
                  <c:v>Total</c:v>
                </c:pt>
              </c:strCache>
            </c:strRef>
          </c:cat>
          <c:val>
            <c:numRef>
              <c:f>'First 7 months comp-Carriers'!$C$2:$C$5</c:f>
              <c:numCache>
                <c:formatCode>#,##0</c:formatCode>
                <c:ptCount val="4"/>
                <c:pt idx="0">
                  <c:v>36344</c:v>
                </c:pt>
                <c:pt idx="1">
                  <c:v>1349</c:v>
                </c:pt>
                <c:pt idx="2">
                  <c:v>18</c:v>
                </c:pt>
                <c:pt idx="3">
                  <c:v>3771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BB3D-4361-8047-9CE5C2DDBF5F}"/>
            </c:ext>
          </c:extLst>
        </c:ser>
        <c:ser>
          <c:idx val="1"/>
          <c:order val="2"/>
          <c:tx>
            <c:strRef>
              <c:f>'First 7 months comp-Carriers'!$D$1</c:f>
              <c:strCache>
                <c:ptCount val="1"/>
                <c:pt idx="0">
                  <c:v> 2023</c:v>
                </c:pt>
              </c:strCache>
            </c:strRef>
          </c:tx>
          <c:spPr>
            <a:solidFill>
              <a:srgbClr val="0070C0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0" h="0"/>
            </a:sp3d>
          </c:spPr>
          <c:invertIfNegative val="0"/>
          <c:dLbls>
            <c:dLbl>
              <c:idx val="3"/>
              <c:layout>
                <c:manualLayout>
                  <c:x val="-3.5940549973361336E-4"/>
                  <c:y val="0"/>
                </c:manualLayout>
              </c:layout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B3D-4361-8047-9CE5C2DDBF5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'First 7 months comp-Carriers'!$A$2:$A$5</c:f>
              <c:strCache>
                <c:ptCount val="4"/>
                <c:pt idx="0">
                  <c:v>1 to 5 trucks</c:v>
                </c:pt>
                <c:pt idx="1">
                  <c:v>6 to 100 trucks</c:v>
                </c:pt>
                <c:pt idx="2">
                  <c:v>101 or more trucks</c:v>
                </c:pt>
                <c:pt idx="3">
                  <c:v>Total</c:v>
                </c:pt>
              </c:strCache>
            </c:strRef>
          </c:cat>
          <c:val>
            <c:numRef>
              <c:f>'First 7 months comp-Carriers'!$D$2:$D$5</c:f>
              <c:numCache>
                <c:formatCode>#,##0</c:formatCode>
                <c:ptCount val="4"/>
                <c:pt idx="0">
                  <c:v>52768</c:v>
                </c:pt>
                <c:pt idx="1">
                  <c:v>2697</c:v>
                </c:pt>
                <c:pt idx="2">
                  <c:v>49</c:v>
                </c:pt>
                <c:pt idx="3">
                  <c:v>5551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BB3D-4361-8047-9CE5C2DDBF5F}"/>
            </c:ext>
          </c:extLst>
        </c:ser>
        <c:dLbls>
          <c:dLblPos val="outEnd"/>
          <c:showLegendKey val="0"/>
          <c:showVal val="1"/>
          <c:showCatName val="0"/>
          <c:showSerName val="0"/>
          <c:showPercent val="0"/>
          <c:showBubbleSize val="0"/>
        </c:dLbls>
        <c:gapWidth val="125"/>
        <c:overlap val="-27"/>
        <c:axId val="696599064"/>
        <c:axId val="696599720"/>
      </c:barChart>
      <c:catAx>
        <c:axId val="69659906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8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599720"/>
        <c:crosses val="autoZero"/>
        <c:auto val="1"/>
        <c:lblAlgn val="ctr"/>
        <c:lblOffset val="100"/>
        <c:noMultiLvlLbl val="0"/>
      </c:catAx>
      <c:valAx>
        <c:axId val="696599720"/>
        <c:scaling>
          <c:orientation val="minMax"/>
          <c:max val="60000"/>
          <c:min val="0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96599064"/>
        <c:crossesAt val="1"/>
        <c:crossBetween val="between"/>
        <c:majorUnit val="10000"/>
      </c:valAx>
      <c:spPr>
        <a:noFill/>
        <a:ln>
          <a:solidFill>
            <a:srgbClr val="7F7F7F"/>
          </a:solidFill>
        </a:ln>
        <a:effectLst/>
      </c:spPr>
    </c:plotArea>
    <c:legend>
      <c:legendPos val="b"/>
      <c:layout>
        <c:manualLayout>
          <c:xMode val="edge"/>
          <c:yMode val="edge"/>
          <c:x val="0.38416543040815548"/>
          <c:y val="0.10043482064741906"/>
          <c:w val="0.22794362661189091"/>
          <c:h val="8.7040682414698145E-2"/>
        </c:manualLayout>
      </c:layout>
      <c:overlay val="0"/>
      <c:spPr>
        <a:solidFill>
          <a:sysClr val="window" lastClr="FFFFFF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800" b="1">
                <a:solidFill>
                  <a:schemeClr val="tx1"/>
                </a:solidFill>
              </a:rPr>
              <a:t>Federal funds effective rate</a:t>
            </a:r>
          </a:p>
          <a:p>
            <a:pPr algn="l">
              <a:defRPr/>
            </a:pPr>
            <a:r>
              <a:rPr lang="en-US" sz="1200">
                <a:solidFill>
                  <a:schemeClr val="tx1"/>
                </a:solidFill>
              </a:rPr>
              <a:t>Not seasonally adjusted</a:t>
            </a:r>
          </a:p>
        </c:rich>
      </c:tx>
      <c:layout>
        <c:manualLayout>
          <c:xMode val="edge"/>
          <c:yMode val="edge"/>
          <c:x val="9.1372849227179934E-2"/>
          <c:y val="2.7777777777777779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4.0354901289512725E-2"/>
          <c:y val="0.12954899387576552"/>
          <c:w val="0.90128941762714465"/>
          <c:h val="0.70822440944881893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FedFundsRate!$C$1</c:f>
              <c:strCache>
                <c:ptCount val="1"/>
                <c:pt idx="0">
                  <c:v> Rate (right axis)</c:v>
                </c:pt>
              </c:strCache>
            </c:strRef>
          </c:tx>
          <c:spPr>
            <a:solidFill>
              <a:srgbClr val="358B3B"/>
            </a:solidFill>
            <a:ln w="19050">
              <a:solidFill>
                <a:srgbClr val="358B3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numRef>
              <c:f>FedFundsRate!$A$38:$A$141</c:f>
              <c:numCache>
                <c:formatCode>m/d/yyyy</c:formatCode>
                <c:ptCount val="104"/>
                <c:pt idx="0">
                  <c:v>40543</c:v>
                </c:pt>
                <c:pt idx="1">
                  <c:v>40574</c:v>
                </c:pt>
                <c:pt idx="2">
                  <c:v>40602</c:v>
                </c:pt>
                <c:pt idx="3">
                  <c:v>40633</c:v>
                </c:pt>
                <c:pt idx="4">
                  <c:v>40663</c:v>
                </c:pt>
                <c:pt idx="5">
                  <c:v>40694</c:v>
                </c:pt>
                <c:pt idx="6">
                  <c:v>40724</c:v>
                </c:pt>
                <c:pt idx="7">
                  <c:v>40755</c:v>
                </c:pt>
                <c:pt idx="8">
                  <c:v>40786</c:v>
                </c:pt>
                <c:pt idx="9">
                  <c:v>40816</c:v>
                </c:pt>
                <c:pt idx="10">
                  <c:v>40847</c:v>
                </c:pt>
                <c:pt idx="11">
                  <c:v>40877</c:v>
                </c:pt>
                <c:pt idx="12">
                  <c:v>40908</c:v>
                </c:pt>
                <c:pt idx="13">
                  <c:v>40939</c:v>
                </c:pt>
                <c:pt idx="14">
                  <c:v>40968</c:v>
                </c:pt>
                <c:pt idx="15">
                  <c:v>40999</c:v>
                </c:pt>
                <c:pt idx="16">
                  <c:v>41029</c:v>
                </c:pt>
                <c:pt idx="17">
                  <c:v>41060</c:v>
                </c:pt>
                <c:pt idx="18">
                  <c:v>41090</c:v>
                </c:pt>
                <c:pt idx="19">
                  <c:v>41121</c:v>
                </c:pt>
                <c:pt idx="20">
                  <c:v>41152</c:v>
                </c:pt>
                <c:pt idx="21">
                  <c:v>41182</c:v>
                </c:pt>
                <c:pt idx="22">
                  <c:v>41213</c:v>
                </c:pt>
                <c:pt idx="23">
                  <c:v>41243</c:v>
                </c:pt>
                <c:pt idx="24">
                  <c:v>41274</c:v>
                </c:pt>
                <c:pt idx="25">
                  <c:v>41305</c:v>
                </c:pt>
                <c:pt idx="26">
                  <c:v>41333</c:v>
                </c:pt>
                <c:pt idx="27">
                  <c:v>41364</c:v>
                </c:pt>
                <c:pt idx="28">
                  <c:v>41394</c:v>
                </c:pt>
                <c:pt idx="29">
                  <c:v>41425</c:v>
                </c:pt>
                <c:pt idx="30">
                  <c:v>41455</c:v>
                </c:pt>
                <c:pt idx="31">
                  <c:v>41486</c:v>
                </c:pt>
                <c:pt idx="32">
                  <c:v>41517</c:v>
                </c:pt>
                <c:pt idx="33">
                  <c:v>41547</c:v>
                </c:pt>
                <c:pt idx="34">
                  <c:v>41578</c:v>
                </c:pt>
                <c:pt idx="35">
                  <c:v>41608</c:v>
                </c:pt>
                <c:pt idx="36">
                  <c:v>41639</c:v>
                </c:pt>
                <c:pt idx="37">
                  <c:v>41670</c:v>
                </c:pt>
                <c:pt idx="38">
                  <c:v>41698</c:v>
                </c:pt>
                <c:pt idx="39">
                  <c:v>41729</c:v>
                </c:pt>
                <c:pt idx="40">
                  <c:v>41759</c:v>
                </c:pt>
                <c:pt idx="41">
                  <c:v>41790</c:v>
                </c:pt>
                <c:pt idx="42">
                  <c:v>41820</c:v>
                </c:pt>
                <c:pt idx="43">
                  <c:v>41851</c:v>
                </c:pt>
                <c:pt idx="44">
                  <c:v>41882</c:v>
                </c:pt>
                <c:pt idx="45">
                  <c:v>41912</c:v>
                </c:pt>
                <c:pt idx="46">
                  <c:v>41943</c:v>
                </c:pt>
                <c:pt idx="47">
                  <c:v>41973</c:v>
                </c:pt>
                <c:pt idx="48">
                  <c:v>42004</c:v>
                </c:pt>
                <c:pt idx="49">
                  <c:v>42035</c:v>
                </c:pt>
                <c:pt idx="50">
                  <c:v>42063</c:v>
                </c:pt>
                <c:pt idx="51">
                  <c:v>42094</c:v>
                </c:pt>
                <c:pt idx="52">
                  <c:v>42124</c:v>
                </c:pt>
                <c:pt idx="53">
                  <c:v>42155</c:v>
                </c:pt>
                <c:pt idx="54">
                  <c:v>42185</c:v>
                </c:pt>
                <c:pt idx="55">
                  <c:v>42216</c:v>
                </c:pt>
                <c:pt idx="56">
                  <c:v>42247</c:v>
                </c:pt>
                <c:pt idx="57">
                  <c:v>42277</c:v>
                </c:pt>
                <c:pt idx="58">
                  <c:v>42308</c:v>
                </c:pt>
                <c:pt idx="59">
                  <c:v>42338</c:v>
                </c:pt>
                <c:pt idx="60">
                  <c:v>42369</c:v>
                </c:pt>
                <c:pt idx="61">
                  <c:v>42400</c:v>
                </c:pt>
                <c:pt idx="62">
                  <c:v>42449</c:v>
                </c:pt>
                <c:pt idx="63">
                  <c:v>42480</c:v>
                </c:pt>
                <c:pt idx="64">
                  <c:v>42490</c:v>
                </c:pt>
                <c:pt idx="65">
                  <c:v>42521</c:v>
                </c:pt>
                <c:pt idx="66">
                  <c:v>42551</c:v>
                </c:pt>
                <c:pt idx="67">
                  <c:v>42582</c:v>
                </c:pt>
                <c:pt idx="68">
                  <c:v>42613</c:v>
                </c:pt>
                <c:pt idx="69">
                  <c:v>42643</c:v>
                </c:pt>
                <c:pt idx="70">
                  <c:v>42674</c:v>
                </c:pt>
                <c:pt idx="71">
                  <c:v>42704</c:v>
                </c:pt>
                <c:pt idx="72">
                  <c:v>42735</c:v>
                </c:pt>
                <c:pt idx="73">
                  <c:v>42766</c:v>
                </c:pt>
                <c:pt idx="74">
                  <c:v>42794</c:v>
                </c:pt>
                <c:pt idx="75">
                  <c:v>42825</c:v>
                </c:pt>
                <c:pt idx="76">
                  <c:v>42855</c:v>
                </c:pt>
                <c:pt idx="77">
                  <c:v>42886</c:v>
                </c:pt>
                <c:pt idx="78">
                  <c:v>42916</c:v>
                </c:pt>
                <c:pt idx="79">
                  <c:v>42947</c:v>
                </c:pt>
                <c:pt idx="80">
                  <c:v>42978</c:v>
                </c:pt>
                <c:pt idx="81">
                  <c:v>43008</c:v>
                </c:pt>
                <c:pt idx="82">
                  <c:v>43039</c:v>
                </c:pt>
                <c:pt idx="83">
                  <c:v>43069</c:v>
                </c:pt>
                <c:pt idx="84">
                  <c:v>43100</c:v>
                </c:pt>
                <c:pt idx="85">
                  <c:v>43131</c:v>
                </c:pt>
                <c:pt idx="86">
                  <c:v>43159</c:v>
                </c:pt>
                <c:pt idx="87">
                  <c:v>43190</c:v>
                </c:pt>
                <c:pt idx="88">
                  <c:v>43220</c:v>
                </c:pt>
                <c:pt idx="89">
                  <c:v>43251</c:v>
                </c:pt>
                <c:pt idx="90">
                  <c:v>43281</c:v>
                </c:pt>
                <c:pt idx="91">
                  <c:v>43312</c:v>
                </c:pt>
                <c:pt idx="92">
                  <c:v>43343</c:v>
                </c:pt>
                <c:pt idx="93">
                  <c:v>43373</c:v>
                </c:pt>
                <c:pt idx="94">
                  <c:v>43404</c:v>
                </c:pt>
                <c:pt idx="95">
                  <c:v>43434</c:v>
                </c:pt>
                <c:pt idx="96">
                  <c:v>43465</c:v>
                </c:pt>
                <c:pt idx="97">
                  <c:v>43496</c:v>
                </c:pt>
                <c:pt idx="98">
                  <c:v>43524</c:v>
                </c:pt>
                <c:pt idx="99">
                  <c:v>43555</c:v>
                </c:pt>
                <c:pt idx="100">
                  <c:v>43585</c:v>
                </c:pt>
                <c:pt idx="101">
                  <c:v>43616</c:v>
                </c:pt>
                <c:pt idx="102">
                  <c:v>43646</c:v>
                </c:pt>
                <c:pt idx="103">
                  <c:v>43677</c:v>
                </c:pt>
              </c:numCache>
            </c:numRef>
          </c:cat>
          <c:val>
            <c:numRef>
              <c:f>FedFundsRate!$C$38:$C$141</c:f>
              <c:numCache>
                <c:formatCode>0.00%</c:formatCode>
                <c:ptCount val="104"/>
                <c:pt idx="0">
                  <c:v>1.1000000000000001E-3</c:v>
                </c:pt>
                <c:pt idx="1">
                  <c:v>1.1000000000000001E-3</c:v>
                </c:pt>
                <c:pt idx="2">
                  <c:v>1.1000000000000001E-3</c:v>
                </c:pt>
                <c:pt idx="3">
                  <c:v>1.1999999999999999E-3</c:v>
                </c:pt>
                <c:pt idx="4">
                  <c:v>1.1999999999999999E-3</c:v>
                </c:pt>
                <c:pt idx="5">
                  <c:v>1.2999999999999999E-3</c:v>
                </c:pt>
                <c:pt idx="6">
                  <c:v>1.2999999999999999E-3</c:v>
                </c:pt>
                <c:pt idx="7">
                  <c:v>1.4000000000000002E-3</c:v>
                </c:pt>
                <c:pt idx="8">
                  <c:v>1.4000000000000002E-3</c:v>
                </c:pt>
                <c:pt idx="9">
                  <c:v>1.1999999999999999E-3</c:v>
                </c:pt>
                <c:pt idx="10">
                  <c:v>1.1999999999999999E-3</c:v>
                </c:pt>
                <c:pt idx="11">
                  <c:v>2.3999999999999998E-3</c:v>
                </c:pt>
                <c:pt idx="12">
                  <c:v>3.4000000000000002E-3</c:v>
                </c:pt>
                <c:pt idx="13">
                  <c:v>3.8E-3</c:v>
                </c:pt>
                <c:pt idx="14">
                  <c:v>3.5999999999999999E-3</c:v>
                </c:pt>
                <c:pt idx="15">
                  <c:v>3.7000000000000002E-3</c:v>
                </c:pt>
                <c:pt idx="16">
                  <c:v>3.7000000000000002E-3</c:v>
                </c:pt>
                <c:pt idx="17">
                  <c:v>3.8E-3</c:v>
                </c:pt>
                <c:pt idx="18">
                  <c:v>3.9000000000000003E-3</c:v>
                </c:pt>
                <c:pt idx="19">
                  <c:v>4.0000000000000001E-3</c:v>
                </c:pt>
                <c:pt idx="20">
                  <c:v>4.0000000000000001E-3</c:v>
                </c:pt>
                <c:pt idx="21">
                  <c:v>4.0000000000000001E-3</c:v>
                </c:pt>
                <c:pt idx="22">
                  <c:v>4.0999999999999995E-3</c:v>
                </c:pt>
                <c:pt idx="23">
                  <c:v>5.4000000000000003E-3</c:v>
                </c:pt>
                <c:pt idx="24">
                  <c:v>6.5000000000000006E-3</c:v>
                </c:pt>
                <c:pt idx="25">
                  <c:v>6.6E-3</c:v>
                </c:pt>
                <c:pt idx="26">
                  <c:v>7.9000000000000008E-3</c:v>
                </c:pt>
                <c:pt idx="27">
                  <c:v>9.0000000000000011E-3</c:v>
                </c:pt>
                <c:pt idx="28">
                  <c:v>9.1000000000000004E-3</c:v>
                </c:pt>
                <c:pt idx="29">
                  <c:v>1.04E-2</c:v>
                </c:pt>
                <c:pt idx="30">
                  <c:v>1.15E-2</c:v>
                </c:pt>
                <c:pt idx="31">
                  <c:v>1.1599999999999999E-2</c:v>
                </c:pt>
                <c:pt idx="32">
                  <c:v>1.15E-2</c:v>
                </c:pt>
                <c:pt idx="33">
                  <c:v>1.15E-2</c:v>
                </c:pt>
                <c:pt idx="34">
                  <c:v>1.1599999999999999E-2</c:v>
                </c:pt>
                <c:pt idx="35">
                  <c:v>1.3000000000000001E-2</c:v>
                </c:pt>
                <c:pt idx="36">
                  <c:v>1.41E-2</c:v>
                </c:pt>
                <c:pt idx="37">
                  <c:v>1.4199999999999999E-2</c:v>
                </c:pt>
                <c:pt idx="38">
                  <c:v>1.5100000000000001E-2</c:v>
                </c:pt>
                <c:pt idx="39">
                  <c:v>1.6899999999999998E-2</c:v>
                </c:pt>
                <c:pt idx="40">
                  <c:v>1.7000000000000001E-2</c:v>
                </c:pt>
                <c:pt idx="41">
                  <c:v>1.8200000000000001E-2</c:v>
                </c:pt>
                <c:pt idx="42">
                  <c:v>1.9099999999999999E-2</c:v>
                </c:pt>
                <c:pt idx="43">
                  <c:v>1.9099999999999999E-2</c:v>
                </c:pt>
                <c:pt idx="44">
                  <c:v>1.95E-2</c:v>
                </c:pt>
                <c:pt idx="45">
                  <c:v>2.1899999999999999E-2</c:v>
                </c:pt>
                <c:pt idx="46">
                  <c:v>2.2000000000000002E-2</c:v>
                </c:pt>
                <c:pt idx="47">
                  <c:v>2.2700000000000001E-2</c:v>
                </c:pt>
                <c:pt idx="48">
                  <c:v>2.4E-2</c:v>
                </c:pt>
                <c:pt idx="49">
                  <c:v>2.4E-2</c:v>
                </c:pt>
                <c:pt idx="50">
                  <c:v>2.41E-2</c:v>
                </c:pt>
                <c:pt idx="51">
                  <c:v>2.4199999999999999E-2</c:v>
                </c:pt>
                <c:pt idx="52">
                  <c:v>2.3900000000000001E-2</c:v>
                </c:pt>
                <c:pt idx="53">
                  <c:v>2.3799999999999998E-2</c:v>
                </c:pt>
                <c:pt idx="54">
                  <c:v>2.4E-2</c:v>
                </c:pt>
                <c:pt idx="55">
                  <c:v>2.1299999999999999E-2</c:v>
                </c:pt>
                <c:pt idx="56">
                  <c:v>2.0400000000000001E-2</c:v>
                </c:pt>
                <c:pt idx="57">
                  <c:v>1.83E-2</c:v>
                </c:pt>
                <c:pt idx="58">
                  <c:v>1.55E-2</c:v>
                </c:pt>
                <c:pt idx="59">
                  <c:v>1.55E-2</c:v>
                </c:pt>
                <c:pt idx="60">
                  <c:v>1.55E-2</c:v>
                </c:pt>
                <c:pt idx="61">
                  <c:v>1.5800000000000002E-2</c:v>
                </c:pt>
                <c:pt idx="62">
                  <c:v>6.5000000000000006E-3</c:v>
                </c:pt>
                <c:pt idx="63">
                  <c:v>5.0000000000000001E-4</c:v>
                </c:pt>
                <c:pt idx="64">
                  <c:v>5.0000000000000001E-4</c:v>
                </c:pt>
                <c:pt idx="65">
                  <c:v>8.0000000000000004E-4</c:v>
                </c:pt>
                <c:pt idx="66">
                  <c:v>8.9999999999999998E-4</c:v>
                </c:pt>
                <c:pt idx="67">
                  <c:v>1E-3</c:v>
                </c:pt>
                <c:pt idx="68">
                  <c:v>8.9999999999999998E-4</c:v>
                </c:pt>
                <c:pt idx="69">
                  <c:v>8.9999999999999998E-4</c:v>
                </c:pt>
                <c:pt idx="70">
                  <c:v>8.9999999999999998E-4</c:v>
                </c:pt>
                <c:pt idx="71">
                  <c:v>8.9999999999999998E-4</c:v>
                </c:pt>
                <c:pt idx="72">
                  <c:v>8.9999999999999998E-4</c:v>
                </c:pt>
                <c:pt idx="73">
                  <c:v>8.0000000000000004E-4</c:v>
                </c:pt>
                <c:pt idx="74">
                  <c:v>7.000000000000001E-4</c:v>
                </c:pt>
                <c:pt idx="75">
                  <c:v>7.000000000000001E-4</c:v>
                </c:pt>
                <c:pt idx="76">
                  <c:v>5.9999999999999995E-4</c:v>
                </c:pt>
                <c:pt idx="77">
                  <c:v>8.0000000000000004E-4</c:v>
                </c:pt>
                <c:pt idx="78">
                  <c:v>1E-3</c:v>
                </c:pt>
                <c:pt idx="79">
                  <c:v>8.9999999999999998E-4</c:v>
                </c:pt>
                <c:pt idx="80">
                  <c:v>8.0000000000000004E-4</c:v>
                </c:pt>
                <c:pt idx="81">
                  <c:v>8.0000000000000004E-4</c:v>
                </c:pt>
                <c:pt idx="82">
                  <c:v>8.0000000000000004E-4</c:v>
                </c:pt>
                <c:pt idx="83">
                  <c:v>8.0000000000000004E-4</c:v>
                </c:pt>
                <c:pt idx="84">
                  <c:v>8.0000000000000004E-4</c:v>
                </c:pt>
                <c:pt idx="85">
                  <c:v>8.0000000000000004E-4</c:v>
                </c:pt>
                <c:pt idx="86">
                  <c:v>2E-3</c:v>
                </c:pt>
                <c:pt idx="87">
                  <c:v>3.3E-3</c:v>
                </c:pt>
                <c:pt idx="88">
                  <c:v>7.7000000000000002E-3</c:v>
                </c:pt>
                <c:pt idx="89">
                  <c:v>1.21E-2</c:v>
                </c:pt>
                <c:pt idx="90">
                  <c:v>1.6799999999999999E-2</c:v>
                </c:pt>
                <c:pt idx="91">
                  <c:v>2.3300000000000001E-2</c:v>
                </c:pt>
                <c:pt idx="92">
                  <c:v>2.5600000000000001E-2</c:v>
                </c:pt>
                <c:pt idx="93">
                  <c:v>3.0800000000000001E-2</c:v>
                </c:pt>
                <c:pt idx="94">
                  <c:v>3.78E-2</c:v>
                </c:pt>
                <c:pt idx="95">
                  <c:v>4.0999999999999995E-2</c:v>
                </c:pt>
                <c:pt idx="96">
                  <c:v>4.3299999999999998E-2</c:v>
                </c:pt>
                <c:pt idx="97">
                  <c:v>4.5700000000000005E-2</c:v>
                </c:pt>
                <c:pt idx="98">
                  <c:v>4.6500000000000007E-2</c:v>
                </c:pt>
                <c:pt idx="99">
                  <c:v>4.8300000000000003E-2</c:v>
                </c:pt>
                <c:pt idx="100">
                  <c:v>5.0599999999999999E-2</c:v>
                </c:pt>
                <c:pt idx="101">
                  <c:v>5.0799999999999998E-2</c:v>
                </c:pt>
                <c:pt idx="102">
                  <c:v>5.1200000000000002E-2</c:v>
                </c:pt>
                <c:pt idx="103">
                  <c:v>5.33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BE50-44D2-8B68-FA0A6EEA95F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48959775"/>
        <c:axId val="948956447"/>
      </c:barChart>
      <c:catAx>
        <c:axId val="948959775"/>
        <c:scaling>
          <c:orientation val="minMax"/>
        </c:scaling>
        <c:delete val="0"/>
        <c:axPos val="b"/>
        <c:numFmt formatCode="yyyy" sourceLinked="0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8956447"/>
        <c:crosses val="autoZero"/>
        <c:auto val="0"/>
        <c:lblAlgn val="ctr"/>
        <c:lblOffset val="100"/>
        <c:tickLblSkip val="12"/>
        <c:noMultiLvlLbl val="0"/>
      </c:catAx>
      <c:valAx>
        <c:axId val="948956447"/>
        <c:scaling>
          <c:orientation val="minMax"/>
          <c:max val="5.5000000000000007E-2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0.0%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4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948959775"/>
        <c:crosses val="autoZero"/>
        <c:crossBetween val="between"/>
        <c:majorUnit val="5.000000000000001E-3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0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ayroll employment, 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seasonally adjusted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0210030811365971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266565864049602"/>
          <c:y val="6.805136690253509E-2"/>
          <c:w val="0.86636416371866565"/>
          <c:h val="0.76787642169728787"/>
        </c:manualLayout>
      </c:layout>
      <c:lineChart>
        <c:grouping val="standard"/>
        <c:varyColors val="0"/>
        <c:ser>
          <c:idx val="0"/>
          <c:order val="0"/>
          <c:tx>
            <c:strRef>
              <c:f>'Trucking jobs'!$B$1</c:f>
              <c:strCache>
                <c:ptCount val="1"/>
                <c:pt idx="0">
                  <c:v> Total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Trucking jobs'!$A$2:$A$215</c:f>
              <c:strCache>
                <c:ptCount val="213"/>
                <c:pt idx="0">
                  <c:v>2006</c:v>
                </c:pt>
                <c:pt idx="1">
                  <c:v>Feb-06</c:v>
                </c:pt>
                <c:pt idx="2">
                  <c:v>Mar-06</c:v>
                </c:pt>
                <c:pt idx="3">
                  <c:v>Apr-06</c:v>
                </c:pt>
                <c:pt idx="4">
                  <c:v>May-06</c:v>
                </c:pt>
                <c:pt idx="5">
                  <c:v>Jun-06</c:v>
                </c:pt>
                <c:pt idx="6">
                  <c:v>Jul-06</c:v>
                </c:pt>
                <c:pt idx="7">
                  <c:v>Aug-06</c:v>
                </c:pt>
                <c:pt idx="8">
                  <c:v>Sep-06</c:v>
                </c:pt>
                <c:pt idx="9">
                  <c:v>Oct-06</c:v>
                </c:pt>
                <c:pt idx="10">
                  <c:v>Nov-06</c:v>
                </c:pt>
                <c:pt idx="11">
                  <c:v>Dec-06</c:v>
                </c:pt>
                <c:pt idx="12">
                  <c:v>2007</c:v>
                </c:pt>
                <c:pt idx="13">
                  <c:v>Feb-07</c:v>
                </c:pt>
                <c:pt idx="14">
                  <c:v>Mar-07</c:v>
                </c:pt>
                <c:pt idx="15">
                  <c:v>Apr-07</c:v>
                </c:pt>
                <c:pt idx="16">
                  <c:v>May-07</c:v>
                </c:pt>
                <c:pt idx="17">
                  <c:v>Jun-07</c:v>
                </c:pt>
                <c:pt idx="18">
                  <c:v>Jul-07</c:v>
                </c:pt>
                <c:pt idx="19">
                  <c:v>Aug-07</c:v>
                </c:pt>
                <c:pt idx="20">
                  <c:v>Sep-07</c:v>
                </c:pt>
                <c:pt idx="21">
                  <c:v>Oct-07</c:v>
                </c:pt>
                <c:pt idx="22">
                  <c:v>Nov-07</c:v>
                </c:pt>
                <c:pt idx="23">
                  <c:v>Dec-07</c:v>
                </c:pt>
                <c:pt idx="24">
                  <c:v>2008</c:v>
                </c:pt>
                <c:pt idx="25">
                  <c:v>Feb-08</c:v>
                </c:pt>
                <c:pt idx="26">
                  <c:v>Mar-08</c:v>
                </c:pt>
                <c:pt idx="27">
                  <c:v>Apr-08</c:v>
                </c:pt>
                <c:pt idx="28">
                  <c:v>May-08</c:v>
                </c:pt>
                <c:pt idx="29">
                  <c:v>Jun-08</c:v>
                </c:pt>
                <c:pt idx="30">
                  <c:v>Jul-08</c:v>
                </c:pt>
                <c:pt idx="31">
                  <c:v>Aug-08</c:v>
                </c:pt>
                <c:pt idx="32">
                  <c:v>Sep-08</c:v>
                </c:pt>
                <c:pt idx="33">
                  <c:v>Oct-08</c:v>
                </c:pt>
                <c:pt idx="34">
                  <c:v>Nov-08</c:v>
                </c:pt>
                <c:pt idx="35">
                  <c:v>Dec-08</c:v>
                </c:pt>
                <c:pt idx="36">
                  <c:v>2009</c:v>
                </c:pt>
                <c:pt idx="37">
                  <c:v>Feb-09</c:v>
                </c:pt>
                <c:pt idx="38">
                  <c:v>Mar-09</c:v>
                </c:pt>
                <c:pt idx="39">
                  <c:v>Apr-09</c:v>
                </c:pt>
                <c:pt idx="40">
                  <c:v>May-09</c:v>
                </c:pt>
                <c:pt idx="41">
                  <c:v>Jun-09</c:v>
                </c:pt>
                <c:pt idx="42">
                  <c:v>Jul-09</c:v>
                </c:pt>
                <c:pt idx="43">
                  <c:v>Aug-09</c:v>
                </c:pt>
                <c:pt idx="44">
                  <c:v>Sep-09</c:v>
                </c:pt>
                <c:pt idx="45">
                  <c:v>Oct-09</c:v>
                </c:pt>
                <c:pt idx="46">
                  <c:v>Nov-09</c:v>
                </c:pt>
                <c:pt idx="47">
                  <c:v>Dec-09</c:v>
                </c:pt>
                <c:pt idx="48">
                  <c:v>2010</c:v>
                </c:pt>
                <c:pt idx="49">
                  <c:v>Feb-10</c:v>
                </c:pt>
                <c:pt idx="50">
                  <c:v>Mar-10</c:v>
                </c:pt>
                <c:pt idx="51">
                  <c:v>Apr-10</c:v>
                </c:pt>
                <c:pt idx="52">
                  <c:v>May-10</c:v>
                </c:pt>
                <c:pt idx="53">
                  <c:v>Jun-10</c:v>
                </c:pt>
                <c:pt idx="54">
                  <c:v>Jul-10</c:v>
                </c:pt>
                <c:pt idx="55">
                  <c:v>Aug-10</c:v>
                </c:pt>
                <c:pt idx="56">
                  <c:v>Sep-10</c:v>
                </c:pt>
                <c:pt idx="57">
                  <c:v>Oct-10</c:v>
                </c:pt>
                <c:pt idx="58">
                  <c:v>Nov-10</c:v>
                </c:pt>
                <c:pt idx="59">
                  <c:v>Dec-10</c:v>
                </c:pt>
                <c:pt idx="60">
                  <c:v>2011</c:v>
                </c:pt>
                <c:pt idx="61">
                  <c:v>Feb-11</c:v>
                </c:pt>
                <c:pt idx="62">
                  <c:v>Mar-11</c:v>
                </c:pt>
                <c:pt idx="63">
                  <c:v>Apr-11</c:v>
                </c:pt>
                <c:pt idx="64">
                  <c:v>May-11</c:v>
                </c:pt>
                <c:pt idx="65">
                  <c:v>Jun-11</c:v>
                </c:pt>
                <c:pt idx="66">
                  <c:v>Jul-11</c:v>
                </c:pt>
                <c:pt idx="67">
                  <c:v>Aug-11</c:v>
                </c:pt>
                <c:pt idx="68">
                  <c:v>Sep-11</c:v>
                </c:pt>
                <c:pt idx="69">
                  <c:v>Oct-11</c:v>
                </c:pt>
                <c:pt idx="70">
                  <c:v>Nov-11</c:v>
                </c:pt>
                <c:pt idx="71">
                  <c:v>Dec-11</c:v>
                </c:pt>
                <c:pt idx="72">
                  <c:v>2012</c:v>
                </c:pt>
                <c:pt idx="73">
                  <c:v>Feb-12</c:v>
                </c:pt>
                <c:pt idx="74">
                  <c:v>Mar-12</c:v>
                </c:pt>
                <c:pt idx="75">
                  <c:v>Apr-12</c:v>
                </c:pt>
                <c:pt idx="76">
                  <c:v>May-12</c:v>
                </c:pt>
                <c:pt idx="77">
                  <c:v>Jun-12</c:v>
                </c:pt>
                <c:pt idx="78">
                  <c:v>Jul-12</c:v>
                </c:pt>
                <c:pt idx="79">
                  <c:v>Aug-12</c:v>
                </c:pt>
                <c:pt idx="80">
                  <c:v>Sep-12</c:v>
                </c:pt>
                <c:pt idx="81">
                  <c:v>Oct-12</c:v>
                </c:pt>
                <c:pt idx="82">
                  <c:v>Nov-12</c:v>
                </c:pt>
                <c:pt idx="83">
                  <c:v>Dec-12</c:v>
                </c:pt>
                <c:pt idx="84">
                  <c:v>2013</c:v>
                </c:pt>
                <c:pt idx="85">
                  <c:v>Feb-13</c:v>
                </c:pt>
                <c:pt idx="86">
                  <c:v>Mar-13</c:v>
                </c:pt>
                <c:pt idx="87">
                  <c:v>Apr-13</c:v>
                </c:pt>
                <c:pt idx="88">
                  <c:v>May-13</c:v>
                </c:pt>
                <c:pt idx="89">
                  <c:v>Jun-13</c:v>
                </c:pt>
                <c:pt idx="90">
                  <c:v>Jul-13</c:v>
                </c:pt>
                <c:pt idx="91">
                  <c:v>Aug-13</c:v>
                </c:pt>
                <c:pt idx="92">
                  <c:v>Sep-13</c:v>
                </c:pt>
                <c:pt idx="93">
                  <c:v>Oct-13</c:v>
                </c:pt>
                <c:pt idx="94">
                  <c:v>Nov-13</c:v>
                </c:pt>
                <c:pt idx="95">
                  <c:v>Dec-13</c:v>
                </c:pt>
                <c:pt idx="96">
                  <c:v>2014</c:v>
                </c:pt>
                <c:pt idx="97">
                  <c:v>Feb-14</c:v>
                </c:pt>
                <c:pt idx="98">
                  <c:v>Mar-14</c:v>
                </c:pt>
                <c:pt idx="99">
                  <c:v>Apr-14</c:v>
                </c:pt>
                <c:pt idx="100">
                  <c:v>May-14</c:v>
                </c:pt>
                <c:pt idx="101">
                  <c:v>Jun-14</c:v>
                </c:pt>
                <c:pt idx="102">
                  <c:v>Jul-14</c:v>
                </c:pt>
                <c:pt idx="103">
                  <c:v>Aug-14</c:v>
                </c:pt>
                <c:pt idx="104">
                  <c:v>Sep-14</c:v>
                </c:pt>
                <c:pt idx="105">
                  <c:v>Oct-14</c:v>
                </c:pt>
                <c:pt idx="106">
                  <c:v>Nov-14</c:v>
                </c:pt>
                <c:pt idx="107">
                  <c:v>Dec-14</c:v>
                </c:pt>
                <c:pt idx="108">
                  <c:v>2015</c:v>
                </c:pt>
                <c:pt idx="109">
                  <c:v>Feb-15</c:v>
                </c:pt>
                <c:pt idx="110">
                  <c:v>Mar-15</c:v>
                </c:pt>
                <c:pt idx="111">
                  <c:v>Apr-15</c:v>
                </c:pt>
                <c:pt idx="112">
                  <c:v>May-15</c:v>
                </c:pt>
                <c:pt idx="113">
                  <c:v>Jun-15</c:v>
                </c:pt>
                <c:pt idx="114">
                  <c:v>Jul-15</c:v>
                </c:pt>
                <c:pt idx="115">
                  <c:v>Aug-15</c:v>
                </c:pt>
                <c:pt idx="116">
                  <c:v>Sep-15</c:v>
                </c:pt>
                <c:pt idx="117">
                  <c:v>Oct-15</c:v>
                </c:pt>
                <c:pt idx="118">
                  <c:v>Nov-15</c:v>
                </c:pt>
                <c:pt idx="119">
                  <c:v>Dec-15</c:v>
                </c:pt>
                <c:pt idx="120">
                  <c:v>2016</c:v>
                </c:pt>
                <c:pt idx="121">
                  <c:v>Feb-16</c:v>
                </c:pt>
                <c:pt idx="122">
                  <c:v>Mar-16</c:v>
                </c:pt>
                <c:pt idx="123">
                  <c:v>Apr-16</c:v>
                </c:pt>
                <c:pt idx="124">
                  <c:v>May-16</c:v>
                </c:pt>
                <c:pt idx="125">
                  <c:v>Jun-16</c:v>
                </c:pt>
                <c:pt idx="126">
                  <c:v>Jul-16</c:v>
                </c:pt>
                <c:pt idx="127">
                  <c:v>Aug-16</c:v>
                </c:pt>
                <c:pt idx="128">
                  <c:v>Sep-16</c:v>
                </c:pt>
                <c:pt idx="129">
                  <c:v>Oct-16</c:v>
                </c:pt>
                <c:pt idx="130">
                  <c:v>Nov-16</c:v>
                </c:pt>
                <c:pt idx="131">
                  <c:v>Dec-16</c:v>
                </c:pt>
                <c:pt idx="132">
                  <c:v>2017</c:v>
                </c:pt>
                <c:pt idx="133">
                  <c:v>Feb-17</c:v>
                </c:pt>
                <c:pt idx="134">
                  <c:v>Mar-17</c:v>
                </c:pt>
                <c:pt idx="135">
                  <c:v>Apr-17</c:v>
                </c:pt>
                <c:pt idx="136">
                  <c:v>May-17</c:v>
                </c:pt>
                <c:pt idx="137">
                  <c:v>Jun-17</c:v>
                </c:pt>
                <c:pt idx="138">
                  <c:v>Jul-17</c:v>
                </c:pt>
                <c:pt idx="139">
                  <c:v>Aug-17</c:v>
                </c:pt>
                <c:pt idx="140">
                  <c:v>Sep-17</c:v>
                </c:pt>
                <c:pt idx="141">
                  <c:v>Oct-17</c:v>
                </c:pt>
                <c:pt idx="142">
                  <c:v>Nov-17</c:v>
                </c:pt>
                <c:pt idx="143">
                  <c:v>Dec-17</c:v>
                </c:pt>
                <c:pt idx="144">
                  <c:v>2018</c:v>
                </c:pt>
                <c:pt idx="145">
                  <c:v>Feb-18</c:v>
                </c:pt>
                <c:pt idx="146">
                  <c:v>Mar-18</c:v>
                </c:pt>
                <c:pt idx="147">
                  <c:v>Apr-18</c:v>
                </c:pt>
                <c:pt idx="148">
                  <c:v>May-18</c:v>
                </c:pt>
                <c:pt idx="149">
                  <c:v>Jun-18</c:v>
                </c:pt>
                <c:pt idx="150">
                  <c:v>Jul-18</c:v>
                </c:pt>
                <c:pt idx="151">
                  <c:v>Aug-18</c:v>
                </c:pt>
                <c:pt idx="152">
                  <c:v>Sep-18</c:v>
                </c:pt>
                <c:pt idx="153">
                  <c:v>Oct-18</c:v>
                </c:pt>
                <c:pt idx="154">
                  <c:v>Nov-18</c:v>
                </c:pt>
                <c:pt idx="155">
                  <c:v>Dec-18</c:v>
                </c:pt>
                <c:pt idx="156">
                  <c:v>2019</c:v>
                </c:pt>
                <c:pt idx="157">
                  <c:v>Feb-19</c:v>
                </c:pt>
                <c:pt idx="158">
                  <c:v>Mar-19</c:v>
                </c:pt>
                <c:pt idx="159">
                  <c:v>Apr-19</c:v>
                </c:pt>
                <c:pt idx="160">
                  <c:v>May-19</c:v>
                </c:pt>
                <c:pt idx="161">
                  <c:v>Jun-19</c:v>
                </c:pt>
                <c:pt idx="162">
                  <c:v>Jul-19</c:v>
                </c:pt>
                <c:pt idx="163">
                  <c:v>Aug-19</c:v>
                </c:pt>
                <c:pt idx="164">
                  <c:v>Sep-19</c:v>
                </c:pt>
                <c:pt idx="165">
                  <c:v>Oct-19</c:v>
                </c:pt>
                <c:pt idx="166">
                  <c:v>Nov-19</c:v>
                </c:pt>
                <c:pt idx="167">
                  <c:v>Dec-19</c:v>
                </c:pt>
                <c:pt idx="168">
                  <c:v>2020</c:v>
                </c:pt>
                <c:pt idx="169">
                  <c:v>Feb-20</c:v>
                </c:pt>
                <c:pt idx="170">
                  <c:v>Mar-20</c:v>
                </c:pt>
                <c:pt idx="171">
                  <c:v>Apr-20</c:v>
                </c:pt>
                <c:pt idx="172">
                  <c:v>May-20</c:v>
                </c:pt>
                <c:pt idx="173">
                  <c:v>Jun-20</c:v>
                </c:pt>
                <c:pt idx="174">
                  <c:v>Jul-20</c:v>
                </c:pt>
                <c:pt idx="175">
                  <c:v>Aug-20</c:v>
                </c:pt>
                <c:pt idx="176">
                  <c:v>Sep-20</c:v>
                </c:pt>
                <c:pt idx="177">
                  <c:v>Oct-20</c:v>
                </c:pt>
                <c:pt idx="178">
                  <c:v>Nov-20</c:v>
                </c:pt>
                <c:pt idx="179">
                  <c:v>Dec-20</c:v>
                </c:pt>
                <c:pt idx="180">
                  <c:v>2021</c:v>
                </c:pt>
                <c:pt idx="181">
                  <c:v>Feb-21</c:v>
                </c:pt>
                <c:pt idx="182">
                  <c:v>Mar-21</c:v>
                </c:pt>
                <c:pt idx="183">
                  <c:v>Apr-21</c:v>
                </c:pt>
                <c:pt idx="184">
                  <c:v>May-21</c:v>
                </c:pt>
                <c:pt idx="185">
                  <c:v>Jun-21</c:v>
                </c:pt>
                <c:pt idx="186">
                  <c:v>Jul-21</c:v>
                </c:pt>
                <c:pt idx="187">
                  <c:v>Aug-21</c:v>
                </c:pt>
                <c:pt idx="188">
                  <c:v>Sep-21</c:v>
                </c:pt>
                <c:pt idx="189">
                  <c:v>Oct-21</c:v>
                </c:pt>
                <c:pt idx="190">
                  <c:v>Nov-21</c:v>
                </c:pt>
                <c:pt idx="191">
                  <c:v>Dec-21</c:v>
                </c:pt>
                <c:pt idx="192">
                  <c:v>2022</c:v>
                </c:pt>
                <c:pt idx="193">
                  <c:v>Feb-22</c:v>
                </c:pt>
                <c:pt idx="194">
                  <c:v>Mar-22</c:v>
                </c:pt>
                <c:pt idx="195">
                  <c:v>Apr-22</c:v>
                </c:pt>
                <c:pt idx="196">
                  <c:v>May-22</c:v>
                </c:pt>
                <c:pt idx="197">
                  <c:v>Jun-22</c:v>
                </c:pt>
                <c:pt idx="198">
                  <c:v>Jul-22</c:v>
                </c:pt>
                <c:pt idx="199">
                  <c:v>Aug-22</c:v>
                </c:pt>
                <c:pt idx="200">
                  <c:v>Sep-22</c:v>
                </c:pt>
                <c:pt idx="201">
                  <c:v>Oct-22</c:v>
                </c:pt>
                <c:pt idx="202">
                  <c:v>Nov-22</c:v>
                </c:pt>
                <c:pt idx="203">
                  <c:v>Dec-22</c:v>
                </c:pt>
                <c:pt idx="204">
                  <c:v>2023</c:v>
                </c:pt>
                <c:pt idx="205">
                  <c:v>Feb-23</c:v>
                </c:pt>
                <c:pt idx="206">
                  <c:v>Mar-23</c:v>
                </c:pt>
                <c:pt idx="207">
                  <c:v>Apr-23</c:v>
                </c:pt>
                <c:pt idx="208">
                  <c:v>May-23</c:v>
                </c:pt>
                <c:pt idx="209">
                  <c:v>Jun-23</c:v>
                </c:pt>
                <c:pt idx="210">
                  <c:v>Jul-23</c:v>
                </c:pt>
                <c:pt idx="211">
                  <c:v>Aug-23</c:v>
                </c:pt>
                <c:pt idx="212">
                  <c:v>Sep-23</c:v>
                </c:pt>
              </c:strCache>
            </c:strRef>
          </c:cat>
          <c:val>
            <c:numRef>
              <c:f>'Trucking jobs'!$B$2:$B$215</c:f>
              <c:numCache>
                <c:formatCode>General</c:formatCode>
                <c:ptCount val="214"/>
                <c:pt idx="0">
                  <c:v>1417.6</c:v>
                </c:pt>
                <c:pt idx="1">
                  <c:v>1421.6</c:v>
                </c:pt>
                <c:pt idx="2">
                  <c:v>1423.6</c:v>
                </c:pt>
                <c:pt idx="3">
                  <c:v>1432.4</c:v>
                </c:pt>
                <c:pt idx="4">
                  <c:v>1430.3</c:v>
                </c:pt>
                <c:pt idx="5">
                  <c:v>1434.1</c:v>
                </c:pt>
                <c:pt idx="6">
                  <c:v>1443.1</c:v>
                </c:pt>
                <c:pt idx="7">
                  <c:v>1442.7</c:v>
                </c:pt>
                <c:pt idx="8">
                  <c:v>1443.8</c:v>
                </c:pt>
                <c:pt idx="9">
                  <c:v>1445.7</c:v>
                </c:pt>
                <c:pt idx="10">
                  <c:v>1446.5</c:v>
                </c:pt>
                <c:pt idx="11">
                  <c:v>1452.1</c:v>
                </c:pt>
                <c:pt idx="12">
                  <c:v>1453.7</c:v>
                </c:pt>
                <c:pt idx="13">
                  <c:v>1452.4</c:v>
                </c:pt>
                <c:pt idx="14">
                  <c:v>1451.5</c:v>
                </c:pt>
                <c:pt idx="15">
                  <c:v>1447.9</c:v>
                </c:pt>
                <c:pt idx="16">
                  <c:v>1449.2</c:v>
                </c:pt>
                <c:pt idx="17">
                  <c:v>1445.1</c:v>
                </c:pt>
                <c:pt idx="18">
                  <c:v>1437.8</c:v>
                </c:pt>
                <c:pt idx="19">
                  <c:v>1431.9</c:v>
                </c:pt>
                <c:pt idx="20">
                  <c:v>1433.4</c:v>
                </c:pt>
                <c:pt idx="21">
                  <c:v>1427.4</c:v>
                </c:pt>
                <c:pt idx="22">
                  <c:v>1423.1</c:v>
                </c:pt>
                <c:pt idx="23">
                  <c:v>1419.2</c:v>
                </c:pt>
                <c:pt idx="24">
                  <c:v>1417.3</c:v>
                </c:pt>
                <c:pt idx="25">
                  <c:v>1413.3</c:v>
                </c:pt>
                <c:pt idx="26">
                  <c:v>1415.4</c:v>
                </c:pt>
                <c:pt idx="27">
                  <c:v>1412.5</c:v>
                </c:pt>
                <c:pt idx="28">
                  <c:v>1406.9</c:v>
                </c:pt>
                <c:pt idx="29">
                  <c:v>1395.5</c:v>
                </c:pt>
                <c:pt idx="30">
                  <c:v>1390.1</c:v>
                </c:pt>
                <c:pt idx="31">
                  <c:v>1385.2</c:v>
                </c:pt>
                <c:pt idx="32">
                  <c:v>1372.3</c:v>
                </c:pt>
                <c:pt idx="33">
                  <c:v>1367.5</c:v>
                </c:pt>
                <c:pt idx="34">
                  <c:v>1351.5</c:v>
                </c:pt>
                <c:pt idx="35">
                  <c:v>1342.7</c:v>
                </c:pt>
                <c:pt idx="36">
                  <c:v>1316.7</c:v>
                </c:pt>
                <c:pt idx="37">
                  <c:v>1310.9</c:v>
                </c:pt>
                <c:pt idx="38">
                  <c:v>1294.9000000000001</c:v>
                </c:pt>
                <c:pt idx="39">
                  <c:v>1275.5</c:v>
                </c:pt>
                <c:pt idx="40">
                  <c:v>1268</c:v>
                </c:pt>
                <c:pt idx="41">
                  <c:v>1262.0999999999999</c:v>
                </c:pt>
                <c:pt idx="42">
                  <c:v>1256.0999999999999</c:v>
                </c:pt>
                <c:pt idx="43">
                  <c:v>1252.0999999999999</c:v>
                </c:pt>
                <c:pt idx="44">
                  <c:v>1252.8</c:v>
                </c:pt>
                <c:pt idx="45">
                  <c:v>1246.9000000000001</c:v>
                </c:pt>
                <c:pt idx="46">
                  <c:v>1246.8</c:v>
                </c:pt>
                <c:pt idx="47">
                  <c:v>1240.7</c:v>
                </c:pt>
                <c:pt idx="48">
                  <c:v>1238.2</c:v>
                </c:pt>
                <c:pt idx="49">
                  <c:v>1236.4000000000001</c:v>
                </c:pt>
                <c:pt idx="50">
                  <c:v>1234.7</c:v>
                </c:pt>
                <c:pt idx="51">
                  <c:v>1238.9000000000001</c:v>
                </c:pt>
                <c:pt idx="52">
                  <c:v>1243.4000000000001</c:v>
                </c:pt>
                <c:pt idx="53">
                  <c:v>1245.5</c:v>
                </c:pt>
                <c:pt idx="54">
                  <c:v>1251.3</c:v>
                </c:pt>
                <c:pt idx="55">
                  <c:v>1256.5</c:v>
                </c:pt>
                <c:pt idx="56">
                  <c:v>1259.5</c:v>
                </c:pt>
                <c:pt idx="57">
                  <c:v>1264.7</c:v>
                </c:pt>
                <c:pt idx="58">
                  <c:v>1271</c:v>
                </c:pt>
                <c:pt idx="59">
                  <c:v>1272.9000000000001</c:v>
                </c:pt>
                <c:pt idx="60">
                  <c:v>1273</c:v>
                </c:pt>
                <c:pt idx="61">
                  <c:v>1283.8</c:v>
                </c:pt>
                <c:pt idx="62">
                  <c:v>1290.4000000000001</c:v>
                </c:pt>
                <c:pt idx="63">
                  <c:v>1295.8</c:v>
                </c:pt>
                <c:pt idx="64">
                  <c:v>1298.5999999999999</c:v>
                </c:pt>
                <c:pt idx="65">
                  <c:v>1303.7</c:v>
                </c:pt>
                <c:pt idx="66">
                  <c:v>1304.5</c:v>
                </c:pt>
                <c:pt idx="67">
                  <c:v>1304.5999999999999</c:v>
                </c:pt>
                <c:pt idx="68">
                  <c:v>1308.5</c:v>
                </c:pt>
                <c:pt idx="69">
                  <c:v>1312.5</c:v>
                </c:pt>
                <c:pt idx="70">
                  <c:v>1316.2</c:v>
                </c:pt>
                <c:pt idx="71">
                  <c:v>1323.3</c:v>
                </c:pt>
                <c:pt idx="72">
                  <c:v>1328.2</c:v>
                </c:pt>
                <c:pt idx="73">
                  <c:v>1339.7</c:v>
                </c:pt>
                <c:pt idx="74">
                  <c:v>1337.5</c:v>
                </c:pt>
                <c:pt idx="75">
                  <c:v>1339.1</c:v>
                </c:pt>
                <c:pt idx="76">
                  <c:v>1344.4</c:v>
                </c:pt>
                <c:pt idx="77">
                  <c:v>1349.6</c:v>
                </c:pt>
                <c:pt idx="78">
                  <c:v>1355.2</c:v>
                </c:pt>
                <c:pt idx="79">
                  <c:v>1357.6</c:v>
                </c:pt>
                <c:pt idx="80">
                  <c:v>1356.2</c:v>
                </c:pt>
                <c:pt idx="81">
                  <c:v>1361.4</c:v>
                </c:pt>
                <c:pt idx="82">
                  <c:v>1363</c:v>
                </c:pt>
                <c:pt idx="83">
                  <c:v>1367.4</c:v>
                </c:pt>
                <c:pt idx="84">
                  <c:v>1372.5</c:v>
                </c:pt>
                <c:pt idx="85">
                  <c:v>1376</c:v>
                </c:pt>
                <c:pt idx="86">
                  <c:v>1367</c:v>
                </c:pt>
                <c:pt idx="87">
                  <c:v>1382.8</c:v>
                </c:pt>
                <c:pt idx="88">
                  <c:v>1382.8</c:v>
                </c:pt>
                <c:pt idx="89">
                  <c:v>1380.7</c:v>
                </c:pt>
                <c:pt idx="90">
                  <c:v>1382.9</c:v>
                </c:pt>
                <c:pt idx="91">
                  <c:v>1385.2</c:v>
                </c:pt>
                <c:pt idx="92">
                  <c:v>1387.2</c:v>
                </c:pt>
                <c:pt idx="93">
                  <c:v>1389</c:v>
                </c:pt>
                <c:pt idx="94">
                  <c:v>1391.6</c:v>
                </c:pt>
                <c:pt idx="95">
                  <c:v>1392</c:v>
                </c:pt>
                <c:pt idx="96">
                  <c:v>1392.3</c:v>
                </c:pt>
                <c:pt idx="97">
                  <c:v>1394.4</c:v>
                </c:pt>
                <c:pt idx="98">
                  <c:v>1401</c:v>
                </c:pt>
                <c:pt idx="99">
                  <c:v>1405.8</c:v>
                </c:pt>
                <c:pt idx="100">
                  <c:v>1411.6</c:v>
                </c:pt>
                <c:pt idx="101">
                  <c:v>1416</c:v>
                </c:pt>
                <c:pt idx="102">
                  <c:v>1420.4</c:v>
                </c:pt>
                <c:pt idx="103">
                  <c:v>1423.3</c:v>
                </c:pt>
                <c:pt idx="104">
                  <c:v>1429.5</c:v>
                </c:pt>
                <c:pt idx="105">
                  <c:v>1435.4</c:v>
                </c:pt>
                <c:pt idx="106">
                  <c:v>1435.5</c:v>
                </c:pt>
                <c:pt idx="107">
                  <c:v>1442.5</c:v>
                </c:pt>
                <c:pt idx="108">
                  <c:v>1443.9</c:v>
                </c:pt>
                <c:pt idx="109">
                  <c:v>1448.6</c:v>
                </c:pt>
                <c:pt idx="110">
                  <c:v>1443.8</c:v>
                </c:pt>
                <c:pt idx="111">
                  <c:v>1443.1</c:v>
                </c:pt>
                <c:pt idx="112">
                  <c:v>1452.2</c:v>
                </c:pt>
                <c:pt idx="113">
                  <c:v>1460</c:v>
                </c:pt>
                <c:pt idx="114">
                  <c:v>1461.5</c:v>
                </c:pt>
                <c:pt idx="115">
                  <c:v>1460.5</c:v>
                </c:pt>
                <c:pt idx="116">
                  <c:v>1458</c:v>
                </c:pt>
                <c:pt idx="117">
                  <c:v>1452.9</c:v>
                </c:pt>
                <c:pt idx="118">
                  <c:v>1455.1</c:v>
                </c:pt>
                <c:pt idx="119">
                  <c:v>1455.7</c:v>
                </c:pt>
                <c:pt idx="120">
                  <c:v>1456.3</c:v>
                </c:pt>
                <c:pt idx="121">
                  <c:v>1454</c:v>
                </c:pt>
                <c:pt idx="122">
                  <c:v>1449.8</c:v>
                </c:pt>
                <c:pt idx="123">
                  <c:v>1447.7</c:v>
                </c:pt>
                <c:pt idx="124">
                  <c:v>1446.7</c:v>
                </c:pt>
                <c:pt idx="125">
                  <c:v>1442.7</c:v>
                </c:pt>
                <c:pt idx="126">
                  <c:v>1441.8</c:v>
                </c:pt>
                <c:pt idx="127">
                  <c:v>1445</c:v>
                </c:pt>
                <c:pt idx="128">
                  <c:v>1445.2</c:v>
                </c:pt>
                <c:pt idx="129">
                  <c:v>1450.6</c:v>
                </c:pt>
                <c:pt idx="130">
                  <c:v>1452.5</c:v>
                </c:pt>
                <c:pt idx="131">
                  <c:v>1451.5</c:v>
                </c:pt>
                <c:pt idx="132">
                  <c:v>1445.1</c:v>
                </c:pt>
                <c:pt idx="133">
                  <c:v>1448.8</c:v>
                </c:pt>
                <c:pt idx="134">
                  <c:v>1452</c:v>
                </c:pt>
                <c:pt idx="135">
                  <c:v>1456.9</c:v>
                </c:pt>
                <c:pt idx="136">
                  <c:v>1455.7</c:v>
                </c:pt>
                <c:pt idx="137">
                  <c:v>1457.2</c:v>
                </c:pt>
                <c:pt idx="138">
                  <c:v>1458.5</c:v>
                </c:pt>
                <c:pt idx="139">
                  <c:v>1459</c:v>
                </c:pt>
                <c:pt idx="140">
                  <c:v>1462.3</c:v>
                </c:pt>
                <c:pt idx="141">
                  <c:v>1463.5</c:v>
                </c:pt>
                <c:pt idx="142">
                  <c:v>1462.9</c:v>
                </c:pt>
                <c:pt idx="143">
                  <c:v>1466.2</c:v>
                </c:pt>
                <c:pt idx="144">
                  <c:v>1470.6</c:v>
                </c:pt>
                <c:pt idx="145">
                  <c:v>1477.2</c:v>
                </c:pt>
                <c:pt idx="146">
                  <c:v>1486.5</c:v>
                </c:pt>
                <c:pt idx="147">
                  <c:v>1484</c:v>
                </c:pt>
                <c:pt idx="148">
                  <c:v>1488.3</c:v>
                </c:pt>
                <c:pt idx="149">
                  <c:v>1491.6</c:v>
                </c:pt>
                <c:pt idx="150">
                  <c:v>1492.1</c:v>
                </c:pt>
                <c:pt idx="151">
                  <c:v>1502.9</c:v>
                </c:pt>
                <c:pt idx="152">
                  <c:v>1509.5</c:v>
                </c:pt>
                <c:pt idx="153">
                  <c:v>1511.1</c:v>
                </c:pt>
                <c:pt idx="154">
                  <c:v>1515.1</c:v>
                </c:pt>
                <c:pt idx="155">
                  <c:v>1520.7</c:v>
                </c:pt>
                <c:pt idx="156">
                  <c:v>1526.2</c:v>
                </c:pt>
                <c:pt idx="157">
                  <c:v>1528.5</c:v>
                </c:pt>
                <c:pt idx="158">
                  <c:v>1530.2</c:v>
                </c:pt>
                <c:pt idx="159">
                  <c:v>1531.6</c:v>
                </c:pt>
                <c:pt idx="160">
                  <c:v>1533.2</c:v>
                </c:pt>
                <c:pt idx="161">
                  <c:v>1534.9</c:v>
                </c:pt>
                <c:pt idx="162">
                  <c:v>1534.4</c:v>
                </c:pt>
                <c:pt idx="163">
                  <c:v>1529.4</c:v>
                </c:pt>
                <c:pt idx="164">
                  <c:v>1524.7</c:v>
                </c:pt>
                <c:pt idx="165">
                  <c:v>1524</c:v>
                </c:pt>
                <c:pt idx="166">
                  <c:v>1521</c:v>
                </c:pt>
                <c:pt idx="167">
                  <c:v>1518.3</c:v>
                </c:pt>
                <c:pt idx="168">
                  <c:v>1516.4</c:v>
                </c:pt>
                <c:pt idx="169">
                  <c:v>1519.6</c:v>
                </c:pt>
                <c:pt idx="170">
                  <c:v>1515.5</c:v>
                </c:pt>
                <c:pt idx="171">
                  <c:v>1431</c:v>
                </c:pt>
                <c:pt idx="172">
                  <c:v>1434.2</c:v>
                </c:pt>
                <c:pt idx="173">
                  <c:v>1439.3</c:v>
                </c:pt>
                <c:pt idx="174">
                  <c:v>1444.3</c:v>
                </c:pt>
                <c:pt idx="175">
                  <c:v>1453.9</c:v>
                </c:pt>
                <c:pt idx="176">
                  <c:v>1461.1</c:v>
                </c:pt>
                <c:pt idx="177">
                  <c:v>1470.3</c:v>
                </c:pt>
                <c:pt idx="178">
                  <c:v>1479.7</c:v>
                </c:pt>
                <c:pt idx="179">
                  <c:v>1489.1</c:v>
                </c:pt>
                <c:pt idx="180">
                  <c:v>1490.3</c:v>
                </c:pt>
                <c:pt idx="181">
                  <c:v>1493.3</c:v>
                </c:pt>
                <c:pt idx="182">
                  <c:v>1502.3</c:v>
                </c:pt>
                <c:pt idx="183">
                  <c:v>1506.4</c:v>
                </c:pt>
                <c:pt idx="184">
                  <c:v>1502.6</c:v>
                </c:pt>
                <c:pt idx="185">
                  <c:v>1508.7</c:v>
                </c:pt>
                <c:pt idx="186">
                  <c:v>1514.5</c:v>
                </c:pt>
                <c:pt idx="187">
                  <c:v>1520.6</c:v>
                </c:pt>
                <c:pt idx="188">
                  <c:v>1528.1</c:v>
                </c:pt>
                <c:pt idx="189">
                  <c:v>1533.3</c:v>
                </c:pt>
                <c:pt idx="190">
                  <c:v>1539.8</c:v>
                </c:pt>
                <c:pt idx="191">
                  <c:v>1546.4</c:v>
                </c:pt>
                <c:pt idx="192">
                  <c:v>1557.4</c:v>
                </c:pt>
                <c:pt idx="193">
                  <c:v>1564.9</c:v>
                </c:pt>
                <c:pt idx="194">
                  <c:v>1561.8</c:v>
                </c:pt>
                <c:pt idx="195">
                  <c:v>1571.7</c:v>
                </c:pt>
                <c:pt idx="196">
                  <c:v>1583.8</c:v>
                </c:pt>
                <c:pt idx="197">
                  <c:v>1591.4</c:v>
                </c:pt>
                <c:pt idx="198">
                  <c:v>1597</c:v>
                </c:pt>
                <c:pt idx="199">
                  <c:v>1600</c:v>
                </c:pt>
                <c:pt idx="200">
                  <c:v>1598.3</c:v>
                </c:pt>
                <c:pt idx="201">
                  <c:v>1605.4</c:v>
                </c:pt>
                <c:pt idx="202">
                  <c:v>1605.5</c:v>
                </c:pt>
                <c:pt idx="203">
                  <c:v>1607.1</c:v>
                </c:pt>
                <c:pt idx="204">
                  <c:v>1611.4</c:v>
                </c:pt>
                <c:pt idx="205">
                  <c:v>1606.3</c:v>
                </c:pt>
                <c:pt idx="206" formatCode="0.0">
                  <c:v>1607.6</c:v>
                </c:pt>
                <c:pt idx="207" formatCode="0.0">
                  <c:v>1608.7</c:v>
                </c:pt>
                <c:pt idx="208" formatCode="0.0">
                  <c:v>1609.2</c:v>
                </c:pt>
                <c:pt idx="209" formatCode="0.0">
                  <c:v>1607.8</c:v>
                </c:pt>
                <c:pt idx="210" formatCode="0.0">
                  <c:v>1600.9</c:v>
                </c:pt>
                <c:pt idx="211" formatCode="0.0">
                  <c:v>1575.7</c:v>
                </c:pt>
                <c:pt idx="212" formatCode="0.0">
                  <c:v>158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06A3-48C0-8DDC-D4AD2C7629F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ax val="1650"/>
          <c:min val="115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Thousands</a:t>
                </a:r>
              </a:p>
            </c:rich>
          </c:tx>
          <c:layout>
            <c:manualLayout>
              <c:xMode val="edge"/>
              <c:yMode val="edge"/>
              <c:x val="0"/>
              <c:y val="0.4429736712598424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majorUnit val="50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4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2"/>
    </mc:Choice>
    <mc:Fallback>
      <c:style val="42"/>
    </mc:Fallback>
  </mc:AlternateContent>
  <c:chart>
    <c:title>
      <c:tx>
        <c:rich>
          <a:bodyPr/>
          <a:lstStyle/>
          <a:p>
            <a:pPr algn="l">
              <a:defRPr sz="1600" b="0">
                <a:latin typeface="Calibri" panose="020F0502020204030204" pitchFamily="34" charset="0"/>
                <a:cs typeface="Calibri" panose="020F0502020204030204" pitchFamily="34" charset="0"/>
              </a:defRPr>
            </a:pPr>
            <a:r>
              <a:rPr lang="en-US" sz="1400" b="0" i="0" u="none" strike="noStrike" baseline="0" dirty="0">
                <a:solidFill>
                  <a:schemeClr val="tx1"/>
                </a:solidFill>
                <a:effectLst/>
              </a:rPr>
              <a:t>Class 8 trucks needed to haul freight divided by active trucks available, seasonally adjusted</a:t>
            </a:r>
            <a:endParaRPr lang="en-US" sz="14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6.1794762067785017E-2"/>
          <c:y val="8.4114173228346453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8118604739624947E-2"/>
          <c:y val="7.9450131233595789E-2"/>
          <c:w val="0.919298185552893"/>
          <c:h val="0.76152471566054247"/>
        </c:manualLayout>
      </c:layou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Index</c:v>
                </c:pt>
              </c:strCache>
            </c:strRef>
          </c:tx>
          <c:spPr>
            <a:ln w="38100">
              <a:solidFill>
                <a:srgbClr val="3397CB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A$2:$A$98</c:f>
              <c:numCache>
                <c:formatCode>[$-409]mmm\-yy;@</c:formatCode>
                <c:ptCount val="97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</c:numCache>
            </c:numRef>
          </c:cat>
          <c:val>
            <c:numRef>
              <c:f>Sheet1!$B$2:$B$98</c:f>
              <c:numCache>
                <c:formatCode>0.0%</c:formatCode>
                <c:ptCount val="97"/>
                <c:pt idx="0">
                  <c:v>0.98815519998266166</c:v>
                </c:pt>
                <c:pt idx="1">
                  <c:v>0.98448957603423271</c:v>
                </c:pt>
                <c:pt idx="2">
                  <c:v>0.9908316555586496</c:v>
                </c:pt>
                <c:pt idx="3">
                  <c:v>0.99855055629682599</c:v>
                </c:pt>
                <c:pt idx="4">
                  <c:v>0.99975271258979137</c:v>
                </c:pt>
                <c:pt idx="5">
                  <c:v>1</c:v>
                </c:pt>
                <c:pt idx="6">
                  <c:v>1</c:v>
                </c:pt>
                <c:pt idx="7">
                  <c:v>0.9982141873450685</c:v>
                </c:pt>
                <c:pt idx="8">
                  <c:v>0.99925983423892639</c:v>
                </c:pt>
                <c:pt idx="9">
                  <c:v>0.9976267232021061</c:v>
                </c:pt>
                <c:pt idx="10">
                  <c:v>1</c:v>
                </c:pt>
                <c:pt idx="11">
                  <c:v>1</c:v>
                </c:pt>
                <c:pt idx="12">
                  <c:v>0.99599906484402934</c:v>
                </c:pt>
                <c:pt idx="13">
                  <c:v>0.99965029881769574</c:v>
                </c:pt>
                <c:pt idx="14">
                  <c:v>1</c:v>
                </c:pt>
                <c:pt idx="15">
                  <c:v>0.98692235946387874</c:v>
                </c:pt>
                <c:pt idx="16">
                  <c:v>0.97779579048506537</c:v>
                </c:pt>
                <c:pt idx="17">
                  <c:v>0.9854478985971542</c:v>
                </c:pt>
                <c:pt idx="18">
                  <c:v>0.94763947420421157</c:v>
                </c:pt>
                <c:pt idx="19">
                  <c:v>0.95449273732216566</c:v>
                </c:pt>
                <c:pt idx="20">
                  <c:v>0.95483572145251705</c:v>
                </c:pt>
                <c:pt idx="21">
                  <c:v>0.91467013545720666</c:v>
                </c:pt>
                <c:pt idx="22">
                  <c:v>0.91520693591230595</c:v>
                </c:pt>
                <c:pt idx="23">
                  <c:v>0.91515325586679608</c:v>
                </c:pt>
                <c:pt idx="24">
                  <c:v>0.89738226236845797</c:v>
                </c:pt>
                <c:pt idx="25">
                  <c:v>0.89266152799607856</c:v>
                </c:pt>
                <c:pt idx="26">
                  <c:v>0.89265631938882684</c:v>
                </c:pt>
                <c:pt idx="27">
                  <c:v>0.8757749747560557</c:v>
                </c:pt>
                <c:pt idx="28">
                  <c:v>0.87724047972075203</c:v>
                </c:pt>
                <c:pt idx="29">
                  <c:v>0.87784089993130265</c:v>
                </c:pt>
                <c:pt idx="30">
                  <c:v>0.86975176132078069</c:v>
                </c:pt>
                <c:pt idx="31">
                  <c:v>0.8761608605307768</c:v>
                </c:pt>
                <c:pt idx="32">
                  <c:v>0.87408161166496401</c:v>
                </c:pt>
                <c:pt idx="33">
                  <c:v>0.87794276091675094</c:v>
                </c:pt>
                <c:pt idx="34">
                  <c:v>0.88265900878252901</c:v>
                </c:pt>
                <c:pt idx="35">
                  <c:v>0.88037778958764923</c:v>
                </c:pt>
                <c:pt idx="36">
                  <c:v>0.89179073911388862</c:v>
                </c:pt>
                <c:pt idx="37">
                  <c:v>0.89404447751716187</c:v>
                </c:pt>
                <c:pt idx="38">
                  <c:v>0.85915815527008121</c:v>
                </c:pt>
                <c:pt idx="39">
                  <c:v>0.82966895950118547</c:v>
                </c:pt>
                <c:pt idx="40">
                  <c:v>0.84315680872678067</c:v>
                </c:pt>
                <c:pt idx="41">
                  <c:v>0.8979722204017746</c:v>
                </c:pt>
                <c:pt idx="42">
                  <c:v>0.92684134716413769</c:v>
                </c:pt>
                <c:pt idx="43">
                  <c:v>0.93536406882545753</c:v>
                </c:pt>
                <c:pt idx="44">
                  <c:v>0.93493778642119996</c:v>
                </c:pt>
                <c:pt idx="45">
                  <c:v>0.99322463357607105</c:v>
                </c:pt>
                <c:pt idx="46">
                  <c:v>0.99762481073676201</c:v>
                </c:pt>
                <c:pt idx="47">
                  <c:v>1</c:v>
                </c:pt>
                <c:pt idx="48">
                  <c:v>1</c:v>
                </c:pt>
                <c:pt idx="49">
                  <c:v>0.97889139360457023</c:v>
                </c:pt>
                <c:pt idx="50">
                  <c:v>1</c:v>
                </c:pt>
                <c:pt idx="51">
                  <c:v>0.99298465393047297</c:v>
                </c:pt>
                <c:pt idx="52">
                  <c:v>1</c:v>
                </c:pt>
                <c:pt idx="53">
                  <c:v>1</c:v>
                </c:pt>
                <c:pt idx="54">
                  <c:v>1</c:v>
                </c:pt>
                <c:pt idx="55">
                  <c:v>1</c:v>
                </c:pt>
                <c:pt idx="56">
                  <c:v>0.99289766462864593</c:v>
                </c:pt>
                <c:pt idx="57">
                  <c:v>0.99512513079240028</c:v>
                </c:pt>
                <c:pt idx="58">
                  <c:v>1</c:v>
                </c:pt>
                <c:pt idx="59">
                  <c:v>1</c:v>
                </c:pt>
                <c:pt idx="60">
                  <c:v>0.98262359394679355</c:v>
                </c:pt>
                <c:pt idx="61">
                  <c:v>0.98898392254701706</c:v>
                </c:pt>
                <c:pt idx="62">
                  <c:v>0.99677894830052549</c:v>
                </c:pt>
                <c:pt idx="63">
                  <c:v>0.96156646836059134</c:v>
                </c:pt>
                <c:pt idx="64">
                  <c:v>0.9613943513181018</c:v>
                </c:pt>
                <c:pt idx="65">
                  <c:v>0.96054686196758221</c:v>
                </c:pt>
                <c:pt idx="66">
                  <c:v>0.93416785149707893</c:v>
                </c:pt>
                <c:pt idx="67">
                  <c:v>0.93508813538069413</c:v>
                </c:pt>
                <c:pt idx="68">
                  <c:v>0.93775025578812032</c:v>
                </c:pt>
                <c:pt idx="69">
                  <c:v>0.91092619858546686</c:v>
                </c:pt>
                <c:pt idx="70">
                  <c:v>0.90792505407085755</c:v>
                </c:pt>
                <c:pt idx="71">
                  <c:v>0.89395524166780826</c:v>
                </c:pt>
                <c:pt idx="72">
                  <c:v>0.88628885547475678</c:v>
                </c:pt>
                <c:pt idx="73">
                  <c:v>0.8864556593936187</c:v>
                </c:pt>
                <c:pt idx="74">
                  <c:v>0.88725165115150373</c:v>
                </c:pt>
                <c:pt idx="75">
                  <c:v>0.8843942713163726</c:v>
                </c:pt>
                <c:pt idx="76">
                  <c:v>0.88146994231633102</c:v>
                </c:pt>
                <c:pt idx="77">
                  <c:v>0.87787584764208648</c:v>
                </c:pt>
                <c:pt idx="78">
                  <c:v>0.88418326598365748</c:v>
                </c:pt>
                <c:pt idx="79">
                  <c:v>0.88624497115919054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15B8-412B-A0F6-C4AD0C4B8528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Column1</c:v>
                </c:pt>
              </c:strCache>
            </c:strRef>
          </c:tx>
          <c:spPr>
            <a:ln w="38100">
              <a:solidFill>
                <a:srgbClr val="0070C0"/>
              </a:solidFill>
              <a:prstDash val="solid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A$2:$A$98</c:f>
              <c:numCache>
                <c:formatCode>[$-409]mmm\-yy;@</c:formatCode>
                <c:ptCount val="97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</c:numCache>
            </c:numRef>
          </c:cat>
          <c:val>
            <c:numRef>
              <c:f>Sheet1!$C$2:$C$98</c:f>
              <c:numCache>
                <c:formatCode>General</c:formatCode>
                <c:ptCount val="97"/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15B8-412B-A0F6-C4AD0C4B8528}"/>
            </c:ext>
          </c:extLst>
        </c:ser>
        <c:ser>
          <c:idx val="2"/>
          <c:order val="2"/>
          <c:tx>
            <c:strRef>
              <c:f>Sheet1!$D$1</c:f>
              <c:strCache>
                <c:ptCount val="1"/>
                <c:pt idx="0">
                  <c:v>Forecast</c:v>
                </c:pt>
              </c:strCache>
            </c:strRef>
          </c:tx>
          <c:spPr>
            <a:ln w="38100">
              <a:solidFill>
                <a:srgbClr val="3397CB"/>
              </a:solidFill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bg1"/>
              </a:solidFill>
              <a:ln w="15875">
                <a:solidFill>
                  <a:srgbClr val="3397CB"/>
                </a:solidFill>
              </a:ln>
            </c:spPr>
          </c:marker>
          <c:dPt>
            <c:idx val="4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2-15B8-412B-A0F6-C4AD0C4B8528}"/>
              </c:ext>
            </c:extLst>
          </c:dPt>
          <c:cat>
            <c:numRef>
              <c:f>Sheet1!$A$2:$A$98</c:f>
              <c:numCache>
                <c:formatCode>[$-409]mmm\-yy;@</c:formatCode>
                <c:ptCount val="97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</c:numCache>
            </c:numRef>
          </c:cat>
          <c:val>
            <c:numRef>
              <c:f>Sheet1!$D$2:$D$98</c:f>
              <c:numCache>
                <c:formatCode>General</c:formatCode>
                <c:ptCount val="97"/>
                <c:pt idx="79" formatCode="0.0%">
                  <c:v>0.88600000000000001</c:v>
                </c:pt>
                <c:pt idx="80" formatCode="0.0%">
                  <c:v>0.88866272577242467</c:v>
                </c:pt>
                <c:pt idx="81" formatCode="0.0%">
                  <c:v>0.89226119233371248</c:v>
                </c:pt>
                <c:pt idx="82" formatCode="0.0%">
                  <c:v>0.89477254893958591</c:v>
                </c:pt>
                <c:pt idx="83" formatCode="0.0%">
                  <c:v>0.89702145810039702</c:v>
                </c:pt>
                <c:pt idx="84" formatCode="0.0%">
                  <c:v>0.89884966513259457</c:v>
                </c:pt>
                <c:pt idx="85" formatCode="0.0%">
                  <c:v>0.90069237041594419</c:v>
                </c:pt>
                <c:pt idx="86" formatCode="0.0%">
                  <c:v>0.90239131926689453</c:v>
                </c:pt>
                <c:pt idx="87" formatCode="0.0%">
                  <c:v>0.90352349391960662</c:v>
                </c:pt>
                <c:pt idx="88" formatCode="0.0%">
                  <c:v>0.90525219323013784</c:v>
                </c:pt>
                <c:pt idx="89" formatCode="0.0%">
                  <c:v>0.90715439943264942</c:v>
                </c:pt>
                <c:pt idx="90" formatCode="0.0%">
                  <c:v>0.90935638602369617</c:v>
                </c:pt>
                <c:pt idx="91" formatCode="0.0%">
                  <c:v>0.91151090088775155</c:v>
                </c:pt>
                <c:pt idx="92" formatCode="0.0%">
                  <c:v>0.91374421752137036</c:v>
                </c:pt>
                <c:pt idx="93" formatCode="0.0%">
                  <c:v>0.91523752726746299</c:v>
                </c:pt>
                <c:pt idx="94" formatCode="0.0%">
                  <c:v>0.91824255393302701</c:v>
                </c:pt>
                <c:pt idx="95" formatCode="0.0%">
                  <c:v>0.9219404888609720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3-15B8-412B-A0F6-C4AD0C4B852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317495936"/>
        <c:axId val="317490056"/>
      </c:lineChart>
      <c:dateAx>
        <c:axId val="317495936"/>
        <c:scaling>
          <c:orientation val="minMax"/>
        </c:scaling>
        <c:delete val="0"/>
        <c:axPos val="b"/>
        <c:majorGridlines>
          <c:spPr>
            <a:ln w="3175">
              <a:noFill/>
            </a:ln>
          </c:spPr>
        </c:majorGridlines>
        <c:numFmt formatCode="yyyy" sourceLinked="0"/>
        <c:majorTickMark val="cross"/>
        <c:minorTickMark val="none"/>
        <c:tickLblPos val="low"/>
        <c:spPr>
          <a:ln w="31750">
            <a:solidFill>
              <a:srgbClr val="898989"/>
            </a:solidFill>
            <a:prstDash val="sysDash"/>
          </a:ln>
        </c:spPr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317490056"/>
        <c:crossesAt val="0.92"/>
        <c:auto val="1"/>
        <c:lblOffset val="100"/>
        <c:baseTimeUnit val="months"/>
        <c:majorUnit val="12"/>
        <c:majorTimeUnit val="months"/>
        <c:minorUnit val="1"/>
        <c:minorTimeUnit val="months"/>
      </c:dateAx>
      <c:valAx>
        <c:axId val="317490056"/>
        <c:scaling>
          <c:orientation val="minMax"/>
          <c:max val="1"/>
          <c:min val="0.8"/>
        </c:scaling>
        <c:delete val="0"/>
        <c:axPos val="l"/>
        <c:majorGridlines>
          <c:spPr>
            <a:ln>
              <a:solidFill>
                <a:schemeClr val="bg2">
                  <a:lumMod val="90000"/>
                </a:schemeClr>
              </a:solidFill>
            </a:ln>
          </c:spPr>
        </c:majorGridlines>
        <c:numFmt formatCode="0%" sourceLinked="0"/>
        <c:majorTickMark val="none"/>
        <c:minorTickMark val="none"/>
        <c:tickLblPos val="low"/>
        <c:spPr>
          <a:ln w="34925">
            <a:solidFill>
              <a:schemeClr val="tx1"/>
            </a:solidFill>
          </a:ln>
        </c:spPr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317495936"/>
        <c:crossesAt val="45139"/>
        <c:crossBetween val="between"/>
        <c:majorUnit val="2.0000000000000004E-2"/>
      </c:valAx>
      <c:spPr>
        <a:noFill/>
        <a:ln w="9525">
          <a:solidFill>
            <a:srgbClr val="7F7F7F"/>
          </a:solidFill>
        </a:ln>
      </c:spPr>
    </c:plotArea>
    <c:legend>
      <c:legendPos val="r"/>
      <c:legendEntry>
        <c:idx val="1"/>
        <c:delete val="1"/>
      </c:legendEntry>
      <c:layout>
        <c:manualLayout>
          <c:xMode val="edge"/>
          <c:yMode val="edge"/>
          <c:x val="6.5269979839476591E-2"/>
          <c:y val="0.76696128608923897"/>
          <c:w val="0.24419243790178402"/>
          <c:h val="6.7053368328958862E-2"/>
        </c:manualLayout>
      </c:layout>
      <c:overlay val="0"/>
      <c:spPr>
        <a:solidFill>
          <a:schemeClr val="bg1"/>
        </a:solidFill>
        <a:ln>
          <a:solidFill>
            <a:srgbClr val="8E8D8C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/>
        <a:lstStyle/>
        <a:p>
          <a:pPr>
            <a:defRPr sz="16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2"/>
    </mc:Choice>
    <mc:Fallback>
      <c:style val="42"/>
    </mc:Fallback>
  </mc:AlternateContent>
  <c:chart>
    <c:title>
      <c:tx>
        <c:rich>
          <a:bodyPr/>
          <a:lstStyle/>
          <a:p>
            <a:pPr algn="l">
              <a:defRPr sz="1600" b="0">
                <a:latin typeface="Calibri" panose="020F0502020204030204" pitchFamily="34" charset="0"/>
                <a:cs typeface="Calibri" panose="020F0502020204030204" pitchFamily="34" charset="0"/>
              </a:defRPr>
            </a:pPr>
            <a:r>
              <a:rPr lang="en-US" sz="1400" b="0" i="0" u="none" strike="noStrike" baseline="0" dirty="0">
                <a:solidFill>
                  <a:schemeClr val="tx1"/>
                </a:solidFill>
                <a:effectLst/>
              </a:rPr>
              <a:t>Index (2008Q1 = 100) </a:t>
            </a:r>
            <a:r>
              <a:rPr lang="en-US" sz="1400" b="0" i="0" u="sng" strike="noStrike" baseline="0" dirty="0">
                <a:solidFill>
                  <a:schemeClr val="tx1"/>
                </a:solidFill>
                <a:effectLst/>
              </a:rPr>
              <a:t>excluding fuel surcharge</a:t>
            </a:r>
            <a:r>
              <a:rPr lang="en-US" sz="1400" b="0" i="0" u="none" strike="noStrike" baseline="0" dirty="0">
                <a:solidFill>
                  <a:schemeClr val="tx1"/>
                </a:solidFill>
                <a:effectLst/>
              </a:rPr>
              <a:t>, seasonally adjusted</a:t>
            </a:r>
            <a:endParaRPr lang="en-US" sz="1400" b="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4.6619765482675039E-2"/>
          <c:y val="2.85586176727909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8118604739624947E-2"/>
          <c:y val="8.4391076115485547E-2"/>
          <c:w val="0.919298185552893"/>
          <c:h val="0.75565791776028002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Index - Y/Y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numRef>
              <c:f>Sheet1!$A$2:$A$97</c:f>
              <c:numCache>
                <c:formatCode>[$-409]mmm\-yy;@</c:formatCode>
                <c:ptCount val="9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</c:numCache>
            </c:numRef>
          </c:cat>
          <c:val>
            <c:numRef>
              <c:f>Sheet1!$D$2:$D$97</c:f>
              <c:numCache>
                <c:formatCode>0.0%</c:formatCode>
                <c:ptCount val="96"/>
                <c:pt idx="0">
                  <c:v>-1.5307258331704319E-2</c:v>
                </c:pt>
                <c:pt idx="1">
                  <c:v>-4.5843071869199822E-3</c:v>
                </c:pt>
                <c:pt idx="2">
                  <c:v>3.3380081240641728E-2</c:v>
                </c:pt>
                <c:pt idx="3">
                  <c:v>6.4415409091894207E-2</c:v>
                </c:pt>
                <c:pt idx="4">
                  <c:v>8.8309514594032953E-2</c:v>
                </c:pt>
                <c:pt idx="5">
                  <c:v>0.11740472977398199</c:v>
                </c:pt>
                <c:pt idx="6">
                  <c:v>0.11571180108644905</c:v>
                </c:pt>
                <c:pt idx="7">
                  <c:v>0.1368635469413344</c:v>
                </c:pt>
                <c:pt idx="8">
                  <c:v>0.2152361810645772</c:v>
                </c:pt>
                <c:pt idx="9">
                  <c:v>0.20696388498108573</c:v>
                </c:pt>
                <c:pt idx="10">
                  <c:v>0.201040048041358</c:v>
                </c:pt>
                <c:pt idx="11">
                  <c:v>0.1945739277535109</c:v>
                </c:pt>
                <c:pt idx="12">
                  <c:v>0.2990881998687997</c:v>
                </c:pt>
                <c:pt idx="13">
                  <c:v>0.26533571152939761</c:v>
                </c:pt>
                <c:pt idx="14">
                  <c:v>0.27086202504669105</c:v>
                </c:pt>
                <c:pt idx="15">
                  <c:v>0.24226756815111242</c:v>
                </c:pt>
                <c:pt idx="16">
                  <c:v>0.230017273215297</c:v>
                </c:pt>
                <c:pt idx="17">
                  <c:v>0.22426513825605668</c:v>
                </c:pt>
                <c:pt idx="18">
                  <c:v>0.187683917338307</c:v>
                </c:pt>
                <c:pt idx="19">
                  <c:v>0.11398180015995478</c:v>
                </c:pt>
                <c:pt idx="20">
                  <c:v>1.259955009385481E-2</c:v>
                </c:pt>
                <c:pt idx="21">
                  <c:v>-3.7260793326738421E-2</c:v>
                </c:pt>
                <c:pt idx="22">
                  <c:v>-4.0330136182661361E-2</c:v>
                </c:pt>
                <c:pt idx="23">
                  <c:v>-4.910214933763022E-2</c:v>
                </c:pt>
                <c:pt idx="24">
                  <c:v>-0.12938150360813219</c:v>
                </c:pt>
                <c:pt idx="25">
                  <c:v>-0.10719560938255551</c:v>
                </c:pt>
                <c:pt idx="26">
                  <c:v>-0.1685833587757786</c:v>
                </c:pt>
                <c:pt idx="27">
                  <c:v>-0.19287329797127187</c:v>
                </c:pt>
                <c:pt idx="28">
                  <c:v>-0.22457633338459665</c:v>
                </c:pt>
                <c:pt idx="29">
                  <c:v>-0.22751839547626163</c:v>
                </c:pt>
                <c:pt idx="30">
                  <c:v>-0.21471119621651738</c:v>
                </c:pt>
                <c:pt idx="31">
                  <c:v>-0.18072342347824602</c:v>
                </c:pt>
                <c:pt idx="32">
                  <c:v>-0.15091877005659557</c:v>
                </c:pt>
                <c:pt idx="33">
                  <c:v>-0.12567197434034391</c:v>
                </c:pt>
                <c:pt idx="34">
                  <c:v>-0.12462789432872645</c:v>
                </c:pt>
                <c:pt idx="35">
                  <c:v>-8.7875400546418486E-2</c:v>
                </c:pt>
                <c:pt idx="36">
                  <c:v>-7.3252655915601886E-2</c:v>
                </c:pt>
                <c:pt idx="37">
                  <c:v>-6.5063561384761881E-2</c:v>
                </c:pt>
                <c:pt idx="38">
                  <c:v>3.4159791765743935E-2</c:v>
                </c:pt>
                <c:pt idx="39">
                  <c:v>-9.02036505270052E-2</c:v>
                </c:pt>
                <c:pt idx="40">
                  <c:v>-4.9597721820879972E-2</c:v>
                </c:pt>
                <c:pt idx="41">
                  <c:v>5.3077997075973663E-3</c:v>
                </c:pt>
                <c:pt idx="42">
                  <c:v>0.13244207667516136</c:v>
                </c:pt>
                <c:pt idx="43">
                  <c:v>0.25587305011190553</c:v>
                </c:pt>
                <c:pt idx="44">
                  <c:v>0.31693350524835712</c:v>
                </c:pt>
                <c:pt idx="45">
                  <c:v>0.36362715452825062</c:v>
                </c:pt>
                <c:pt idx="46">
                  <c:v>0.37414568414200089</c:v>
                </c:pt>
                <c:pt idx="47">
                  <c:v>0.31293840243402199</c:v>
                </c:pt>
                <c:pt idx="48">
                  <c:v>0.2882811430557361</c:v>
                </c:pt>
                <c:pt idx="49">
                  <c:v>0.37176242911778229</c:v>
                </c:pt>
                <c:pt idx="50">
                  <c:v>0.33054854131284522</c:v>
                </c:pt>
                <c:pt idx="51">
                  <c:v>0.60099259084663825</c:v>
                </c:pt>
                <c:pt idx="52">
                  <c:v>0.71847149797043586</c:v>
                </c:pt>
                <c:pt idx="53">
                  <c:v>0.50061475759190577</c:v>
                </c:pt>
                <c:pt idx="54">
                  <c:v>0.32139704931041263</c:v>
                </c:pt>
                <c:pt idx="55">
                  <c:v>0.19986505888591813</c:v>
                </c:pt>
                <c:pt idx="56">
                  <c:v>0.14589106379071642</c:v>
                </c:pt>
                <c:pt idx="57">
                  <c:v>0.11087104108575752</c:v>
                </c:pt>
                <c:pt idx="58">
                  <c:v>9.484611442887908E-2</c:v>
                </c:pt>
                <c:pt idx="59">
                  <c:v>0.10487594177182236</c:v>
                </c:pt>
                <c:pt idx="60">
                  <c:v>0.20079794943132503</c:v>
                </c:pt>
                <c:pt idx="61">
                  <c:v>0.13947471363717001</c:v>
                </c:pt>
                <c:pt idx="62">
                  <c:v>1.2307807956077969E-2</c:v>
                </c:pt>
                <c:pt idx="63">
                  <c:v>-8.0581252257240901E-2</c:v>
                </c:pt>
                <c:pt idx="64">
                  <c:v>-0.18537702534302461</c:v>
                </c:pt>
                <c:pt idx="65">
                  <c:v>-0.19814736315356762</c:v>
                </c:pt>
                <c:pt idx="66">
                  <c:v>-0.22021940843756344</c:v>
                </c:pt>
                <c:pt idx="67">
                  <c:v>-0.25222729719627857</c:v>
                </c:pt>
                <c:pt idx="68">
                  <c:v>-0.29941463128679763</c:v>
                </c:pt>
                <c:pt idx="69">
                  <c:v>-0.30653345583255176</c:v>
                </c:pt>
                <c:pt idx="70">
                  <c:v>-0.32758747872988769</c:v>
                </c:pt>
                <c:pt idx="71">
                  <c:v>-0.30162699895503775</c:v>
                </c:pt>
                <c:pt idx="72">
                  <c:v>-0.34002269253944523</c:v>
                </c:pt>
                <c:pt idx="73">
                  <c:v>-0.35503633267671342</c:v>
                </c:pt>
                <c:pt idx="74">
                  <c:v>-0.29092291057810876</c:v>
                </c:pt>
                <c:pt idx="75">
                  <c:v>-0.25302894761826367</c:v>
                </c:pt>
                <c:pt idx="76">
                  <c:v>-0.16526826885917115</c:v>
                </c:pt>
                <c:pt idx="77">
                  <c:v>-0.13887080300766175</c:v>
                </c:pt>
                <c:pt idx="78">
                  <c:v>-0.14559069216356593</c:v>
                </c:pt>
                <c:pt idx="79">
                  <c:v>-0.123627311926057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7DD8-4ED4-9EBB-72D939300914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orecast - Y/Y</c:v>
                </c:pt>
              </c:strCache>
            </c:strRef>
          </c:tx>
          <c:spPr>
            <a:pattFill prst="lt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52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7DD8-4ED4-9EBB-72D939300914}"/>
              </c:ext>
            </c:extLst>
          </c:dPt>
          <c:cat>
            <c:numRef>
              <c:f>Sheet1!$A$2:$A$97</c:f>
              <c:numCache>
                <c:formatCode>[$-409]mmm\-yy;@</c:formatCode>
                <c:ptCount val="9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</c:numCache>
            </c:numRef>
          </c:cat>
          <c:val>
            <c:numRef>
              <c:f>Sheet1!$E$2:$E$97</c:f>
              <c:numCache>
                <c:formatCode>0.0%</c:formatCode>
                <c:ptCount val="96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79">
                  <c:v>-0.124</c:v>
                </c:pt>
                <c:pt idx="80">
                  <c:v>-6.9879886856830831E-2</c:v>
                </c:pt>
                <c:pt idx="81">
                  <c:v>-5.0308176257077571E-2</c:v>
                </c:pt>
                <c:pt idx="82">
                  <c:v>1.1930902437921199E-2</c:v>
                </c:pt>
                <c:pt idx="83">
                  <c:v>-4.4402539388646439E-2</c:v>
                </c:pt>
                <c:pt idx="84">
                  <c:v>-4.7263155349519179E-2</c:v>
                </c:pt>
                <c:pt idx="85">
                  <c:v>-5.3729583081092288E-3</c:v>
                </c:pt>
                <c:pt idx="86">
                  <c:v>2.9016563332997552E-2</c:v>
                </c:pt>
                <c:pt idx="87">
                  <c:v>6.2647352098284884E-2</c:v>
                </c:pt>
                <c:pt idx="88">
                  <c:v>1.9397114359244388E-2</c:v>
                </c:pt>
                <c:pt idx="89">
                  <c:v>5.671748008675085E-2</c:v>
                </c:pt>
                <c:pt idx="90">
                  <c:v>9.674134739506321E-2</c:v>
                </c:pt>
                <c:pt idx="91">
                  <c:v>0.10846319387606176</c:v>
                </c:pt>
                <c:pt idx="92">
                  <c:v>0.11548493286440556</c:v>
                </c:pt>
                <c:pt idx="93">
                  <c:v>0.11190088453692547</c:v>
                </c:pt>
                <c:pt idx="94">
                  <c:v>0.11346051303729993</c:v>
                </c:pt>
                <c:pt idx="95">
                  <c:v>0.11445760008674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7DD8-4ED4-9EBB-72D9393009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882887984"/>
        <c:axId val="88288765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Index</c:v>
                </c:pt>
              </c:strCache>
            </c:strRef>
          </c:tx>
          <c:spPr>
            <a:ln w="38100">
              <a:solidFill>
                <a:srgbClr val="358B3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A$2:$A$97</c:f>
              <c:numCache>
                <c:formatCode>[$-409]mmm\-yy;@</c:formatCode>
                <c:ptCount val="9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</c:numCache>
            </c:numRef>
          </c:cat>
          <c:val>
            <c:numRef>
              <c:f>Sheet1!$B$2:$B$97</c:f>
              <c:numCache>
                <c:formatCode>0.00</c:formatCode>
                <c:ptCount val="96"/>
                <c:pt idx="0">
                  <c:v>104.78324285206948</c:v>
                </c:pt>
                <c:pt idx="1">
                  <c:v>101.78821870695435</c:v>
                </c:pt>
                <c:pt idx="2">
                  <c:v>101.32803636999925</c:v>
                </c:pt>
                <c:pt idx="3">
                  <c:v>103.10473048220243</c:v>
                </c:pt>
                <c:pt idx="4">
                  <c:v>102.78995053537821</c:v>
                </c:pt>
                <c:pt idx="5">
                  <c:v>107.71193315350249</c:v>
                </c:pt>
                <c:pt idx="6">
                  <c:v>111.30287839656121</c:v>
                </c:pt>
                <c:pt idx="7">
                  <c:v>114.67439589101825</c:v>
                </c:pt>
                <c:pt idx="8">
                  <c:v>122.4592539684182</c:v>
                </c:pt>
                <c:pt idx="9">
                  <c:v>124.26223704866004</c:v>
                </c:pt>
                <c:pt idx="10">
                  <c:v>122.10827760087186</c:v>
                </c:pt>
                <c:pt idx="11">
                  <c:v>126.00353835867313</c:v>
                </c:pt>
                <c:pt idx="12">
                  <c:v>136.12267433311021</c:v>
                </c:pt>
                <c:pt idx="13">
                  <c:v>128.79626814287403</c:v>
                </c:pt>
                <c:pt idx="14">
                  <c:v>128.77395349518201</c:v>
                </c:pt>
                <c:pt idx="15">
                  <c:v>128.08366280100148</c:v>
                </c:pt>
                <c:pt idx="16">
                  <c:v>126.43341467146116</c:v>
                </c:pt>
                <c:pt idx="17">
                  <c:v>131.86796473399986</c:v>
                </c:pt>
                <c:pt idx="18">
                  <c:v>132.19263862505704</c:v>
                </c:pt>
                <c:pt idx="19">
                  <c:v>127.74518996693183</c:v>
                </c:pt>
                <c:pt idx="20">
                  <c:v>124.00218547324937</c:v>
                </c:pt>
                <c:pt idx="21">
                  <c:v>119.63212751567174</c:v>
                </c:pt>
                <c:pt idx="22">
                  <c:v>117.18363413619848</c:v>
                </c:pt>
                <c:pt idx="23">
                  <c:v>119.81649380111574</c:v>
                </c:pt>
                <c:pt idx="24">
                  <c:v>118.51091805273231</c:v>
                </c:pt>
                <c:pt idx="25">
                  <c:v>114.98987369309963</c:v>
                </c:pt>
                <c:pt idx="26">
                  <c:v>107.06480789212831</c:v>
                </c:pt>
                <c:pt idx="27">
                  <c:v>103.37974434033201</c:v>
                </c:pt>
                <c:pt idx="28">
                  <c:v>98.039461987250149</c:v>
                </c:pt>
                <c:pt idx="29">
                  <c:v>101.86557698299995</c:v>
                </c:pt>
                <c:pt idx="30">
                  <c:v>103.80939905485324</c:v>
                </c:pt>
                <c:pt idx="31">
                  <c:v>104.65864190322903</c:v>
                </c:pt>
                <c:pt idx="32">
                  <c:v>105.28792815729673</c:v>
                </c:pt>
                <c:pt idx="33">
                  <c:v>104.59772185624149</c:v>
                </c:pt>
                <c:pt idx="34">
                  <c:v>102.57928456401619</c:v>
                </c:pt>
                <c:pt idx="35">
                  <c:v>109.28757141627523</c:v>
                </c:pt>
                <c:pt idx="36">
                  <c:v>109.82967855037342</c:v>
                </c:pt>
                <c:pt idx="37">
                  <c:v>107.50822298744262</c:v>
                </c:pt>
                <c:pt idx="38">
                  <c:v>110.7221194351628</c:v>
                </c:pt>
                <c:pt idx="39">
                  <c:v>94.054514010285558</c:v>
                </c:pt>
                <c:pt idx="40">
                  <c:v>93.17692802413778</c:v>
                </c:pt>
                <c:pt idx="41">
                  <c:v>102.40625906272456</c:v>
                </c:pt>
                <c:pt idx="42">
                  <c:v>117.55813144407854</c:v>
                </c:pt>
                <c:pt idx="43">
                  <c:v>131.43796782757792</c:v>
                </c:pt>
                <c:pt idx="44">
                  <c:v>138.65720028852598</c:v>
                </c:pt>
                <c:pt idx="45">
                  <c:v>142.63229382496399</c:v>
                </c:pt>
                <c:pt idx="46">
                  <c:v>140.95888116601702</c:v>
                </c:pt>
                <c:pt idx="47">
                  <c:v>143.48784942117848</c:v>
                </c:pt>
                <c:pt idx="48">
                  <c:v>141.49150382431912</c:v>
                </c:pt>
                <c:pt idx="49">
                  <c:v>147.47574111539049</c:v>
                </c:pt>
                <c:pt idx="50">
                  <c:v>147.32115450552249</c:v>
                </c:pt>
                <c:pt idx="51">
                  <c:v>150.58058006614851</c:v>
                </c:pt>
                <c:pt idx="52">
                  <c:v>160.12189507792354</c:v>
                </c:pt>
                <c:pt idx="53">
                  <c:v>153.67234361930431</c:v>
                </c:pt>
                <c:pt idx="54">
                  <c:v>155.34096801265102</c:v>
                </c:pt>
                <c:pt idx="55">
                  <c:v>157.7078250072822</c:v>
                </c:pt>
                <c:pt idx="56">
                  <c:v>158.88604674086147</c:v>
                </c:pt>
                <c:pt idx="57">
                  <c:v>158.44608473378742</c:v>
                </c:pt>
                <c:pt idx="58">
                  <c:v>154.32828333885584</c:v>
                </c:pt>
                <c:pt idx="59">
                  <c:v>158.53627276203801</c:v>
                </c:pt>
                <c:pt idx="60">
                  <c:v>169.90270765419689</c:v>
                </c:pt>
                <c:pt idx="61">
                  <c:v>168.044877875889</c:v>
                </c:pt>
                <c:pt idx="62">
                  <c:v>149.13435498304415</c:v>
                </c:pt>
                <c:pt idx="63">
                  <c:v>138.44660835879654</c:v>
                </c:pt>
                <c:pt idx="64">
                  <c:v>130.43897447609018</c:v>
                </c:pt>
                <c:pt idx="65">
                  <c:v>123.22257394151019</c:v>
                </c:pt>
                <c:pt idx="66">
                  <c:v>121.13187193078655</c:v>
                </c:pt>
                <c:pt idx="67">
                  <c:v>117.92960655899174</c:v>
                </c:pt>
                <c:pt idx="68">
                  <c:v>111.31323963932954</c:v>
                </c:pt>
                <c:pt idx="69">
                  <c:v>109.87705881720224</c:v>
                </c:pt>
                <c:pt idx="70">
                  <c:v>103.77227010316832</c:v>
                </c:pt>
                <c:pt idx="71">
                  <c:v>110.71745258330719</c:v>
                </c:pt>
                <c:pt idx="72">
                  <c:v>112.13193152787466</c:v>
                </c:pt>
                <c:pt idx="73">
                  <c:v>108.38284070972719</c:v>
                </c:pt>
                <c:pt idx="74">
                  <c:v>105.74775436418807</c:v>
                </c:pt>
                <c:pt idx="75">
                  <c:v>103.41560874445234</c:v>
                </c:pt>
                <c:pt idx="76">
                  <c:v>108.88155097266115</c:v>
                </c:pt>
                <c:pt idx="77">
                  <c:v>106.1105561495817</c:v>
                </c:pt>
                <c:pt idx="78">
                  <c:v>103.49619885331491</c:v>
                </c:pt>
                <c:pt idx="79">
                  <c:v>103.3502863036060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7DD8-4ED4-9EBB-72D939300914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Forecast</c:v>
                </c:pt>
              </c:strCache>
            </c:strRef>
          </c:tx>
          <c:spPr>
            <a:ln w="38100">
              <a:solidFill>
                <a:schemeClr val="tx1"/>
              </a:solidFill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bg1"/>
              </a:solidFill>
              <a:ln w="15875">
                <a:solidFill>
                  <a:srgbClr val="358B3B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7DD8-4ED4-9EBB-72D939300914}"/>
              </c:ext>
            </c:extLst>
          </c:dPt>
          <c:dPt>
            <c:idx val="52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6-7DD8-4ED4-9EBB-72D939300914}"/>
              </c:ext>
            </c:extLst>
          </c:dPt>
          <c:dPt>
            <c:idx val="71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7-7DD8-4ED4-9EBB-72D939300914}"/>
              </c:ext>
            </c:extLst>
          </c:dPt>
          <c:dPt>
            <c:idx val="78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7DD8-4ED4-9EBB-72D939300914}"/>
              </c:ext>
            </c:extLst>
          </c:dPt>
          <c:cat>
            <c:numRef>
              <c:f>Sheet1!$A$2:$A$97</c:f>
              <c:numCache>
                <c:formatCode>[$-409]mmm\-yy;@</c:formatCode>
                <c:ptCount val="96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  <c:pt idx="95">
                  <c:v>45627</c:v>
                </c:pt>
              </c:numCache>
            </c:numRef>
          </c:cat>
          <c:val>
            <c:numRef>
              <c:f>Sheet1!$C$2:$C$97</c:f>
              <c:numCache>
                <c:formatCode>General</c:formatCode>
                <c:ptCount val="96"/>
                <c:pt idx="79" formatCode="0.00">
                  <c:v>103.35</c:v>
                </c:pt>
                <c:pt idx="80" formatCode="0.00">
                  <c:v>103.53468304766589</c:v>
                </c:pt>
                <c:pt idx="81" formatCode="0.00">
                  <c:v>104.34934437561715</c:v>
                </c:pt>
                <c:pt idx="82" formatCode="0.00">
                  <c:v>105.01036693353083</c:v>
                </c:pt>
                <c:pt idx="83" formatCode="0.00">
                  <c:v>105.8013165339663</c:v>
                </c:pt>
                <c:pt idx="84" formatCode="0.00">
                  <c:v>106.83222262843107</c:v>
                </c:pt>
                <c:pt idx="85" formatCode="0.00">
                  <c:v>107.80050422527938</c:v>
                </c:pt>
                <c:pt idx="86" formatCode="0.00">
                  <c:v>108.8161907760188</c:v>
                </c:pt>
                <c:pt idx="87" formatCode="0.00">
                  <c:v>109.89432279792452</c:v>
                </c:pt>
                <c:pt idx="88" formatCode="0.00">
                  <c:v>110.99353886848975</c:v>
                </c:pt>
                <c:pt idx="89" formatCode="0.00">
                  <c:v>112.12887950498965</c:v>
                </c:pt>
                <c:pt idx="90" formatCode="0.00">
                  <c:v>113.50856058065199</c:v>
                </c:pt>
                <c:pt idx="91" formatCode="0.00">
                  <c:v>114.55998844410057</c:v>
                </c:pt>
                <c:pt idx="92" formatCode="0.00">
                  <c:v>115.4913789685631</c:v>
                </c:pt>
                <c:pt idx="93" formatCode="0.00">
                  <c:v>116.02612831209696</c:v>
                </c:pt>
                <c:pt idx="94" formatCode="0.00">
                  <c:v>116.92489704004436</c:v>
                </c:pt>
                <c:pt idx="95" formatCode="0.00">
                  <c:v>117.911081310462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7DD8-4ED4-9EBB-72D93930091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7495936"/>
        <c:axId val="317490056"/>
      </c:lineChart>
      <c:dateAx>
        <c:axId val="317495936"/>
        <c:scaling>
          <c:orientation val="minMax"/>
        </c:scaling>
        <c:delete val="0"/>
        <c:axPos val="b"/>
        <c:majorGridlines>
          <c:spPr>
            <a:ln w="3175">
              <a:noFill/>
            </a:ln>
          </c:spPr>
        </c:majorGridlines>
        <c:numFmt formatCode="yyyy" sourceLinked="0"/>
        <c:majorTickMark val="none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317490056"/>
        <c:crosses val="autoZero"/>
        <c:auto val="1"/>
        <c:lblOffset val="100"/>
        <c:baseTimeUnit val="months"/>
        <c:majorUnit val="12"/>
        <c:majorTimeUnit val="months"/>
        <c:minorUnit val="1"/>
        <c:minorTimeUnit val="months"/>
      </c:dateAx>
      <c:valAx>
        <c:axId val="317490056"/>
        <c:scaling>
          <c:orientation val="minMax"/>
          <c:min val="80"/>
        </c:scaling>
        <c:delete val="0"/>
        <c:axPos val="l"/>
        <c:majorGridlines>
          <c:spPr>
            <a:ln>
              <a:solidFill>
                <a:schemeClr val="bg2">
                  <a:lumMod val="90000"/>
                </a:schemeClr>
              </a:solidFill>
            </a:ln>
          </c:spPr>
        </c:majorGridlines>
        <c:numFmt formatCode="0" sourceLinked="0"/>
        <c:majorTickMark val="none"/>
        <c:minorTickMark val="none"/>
        <c:tickLblPos val="low"/>
        <c:spPr>
          <a:ln w="34925">
            <a:solidFill>
              <a:schemeClr val="tx1"/>
            </a:solidFill>
          </a:ln>
        </c:spPr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317495936"/>
        <c:crossesAt val="45139"/>
        <c:crossBetween val="between"/>
        <c:majorUnit val="10"/>
      </c:valAx>
      <c:valAx>
        <c:axId val="882887656"/>
        <c:scaling>
          <c:orientation val="minMax"/>
          <c:max val="0.75000000000000011"/>
        </c:scaling>
        <c:delete val="0"/>
        <c:axPos val="r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882887984"/>
        <c:crosses val="max"/>
        <c:crossBetween val="between"/>
        <c:majorUnit val="0.25"/>
      </c:valAx>
      <c:dateAx>
        <c:axId val="882887984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882887656"/>
        <c:crosses val="autoZero"/>
        <c:auto val="1"/>
        <c:lblOffset val="100"/>
        <c:baseTimeUnit val="days"/>
        <c:majorUnit val="1"/>
        <c:minorUnit val="1"/>
      </c:dateAx>
      <c:spPr>
        <a:noFill/>
        <a:ln w="9525"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5.2353441878571667E-2"/>
          <c:y val="0.76422222222222225"/>
          <c:w val="0.51515154971213761"/>
          <c:h val="6.4275590551181108E-2"/>
        </c:manualLayout>
      </c:layout>
      <c:overlay val="0"/>
      <c:spPr>
        <a:solidFill>
          <a:schemeClr val="bg1"/>
        </a:solidFill>
        <a:ln>
          <a:solidFill>
            <a:srgbClr val="8E8D8C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/>
        <a:lstStyle/>
        <a:p>
          <a:pPr>
            <a:defRPr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4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42"/>
    </mc:Choice>
    <mc:Fallback>
      <c:style val="42"/>
    </mc:Fallback>
  </mc:AlternateContent>
  <c:chart>
    <c:title>
      <c:tx>
        <c:rich>
          <a:bodyPr/>
          <a:lstStyle/>
          <a:p>
            <a:pPr algn="l">
              <a:defRPr sz="1600" b="0">
                <a:latin typeface="Calibri" panose="020F0502020204030204" pitchFamily="34" charset="0"/>
                <a:cs typeface="Calibri" panose="020F0502020204030204" pitchFamily="34" charset="0"/>
              </a:defRPr>
            </a:pPr>
            <a:r>
              <a:rPr lang="en-US" sz="1400" b="0" i="0" u="none" strike="noStrike" baseline="0" dirty="0">
                <a:solidFill>
                  <a:schemeClr val="tx1"/>
                </a:solidFill>
                <a:effectLst/>
              </a:rPr>
              <a:t>Index (2008Q1 = 100) </a:t>
            </a:r>
            <a:r>
              <a:rPr lang="en-US" sz="1400" b="0" i="0" u="sng" strike="noStrike" baseline="0" dirty="0">
                <a:solidFill>
                  <a:schemeClr val="tx1"/>
                </a:solidFill>
                <a:effectLst/>
              </a:rPr>
              <a:t>excluding fuel surcharge</a:t>
            </a:r>
            <a:r>
              <a:rPr lang="en-US" sz="1400" b="0" i="0" u="none" strike="noStrike" baseline="0" dirty="0">
                <a:solidFill>
                  <a:schemeClr val="tx1"/>
                </a:solidFill>
                <a:effectLst/>
              </a:rPr>
              <a:t>, seasonally adjusted</a:t>
            </a:r>
            <a:endParaRPr lang="en-US" sz="1400" b="0" u="none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4.9033824965100684E-2"/>
          <c:y val="5.6336395450568679E-3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8118604739624947E-2"/>
          <c:y val="8.4391076115485547E-2"/>
          <c:w val="0.919298185552893"/>
          <c:h val="0.75010236220472437"/>
        </c:manualLayout>
      </c:layout>
      <c:barChart>
        <c:barDir val="col"/>
        <c:grouping val="clustered"/>
        <c:varyColors val="0"/>
        <c:ser>
          <c:idx val="2"/>
          <c:order val="2"/>
          <c:tx>
            <c:strRef>
              <c:f>Sheet1!$D$1</c:f>
              <c:strCache>
                <c:ptCount val="1"/>
                <c:pt idx="0">
                  <c:v>Index - Y/Y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numRef>
              <c:f>Sheet1!$A$2:$A$96</c:f>
              <c:numCache>
                <c:formatCode>[$-409]mmm\-yy;@</c:formatCode>
                <c:ptCount val="95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</c:numCache>
            </c:numRef>
          </c:cat>
          <c:val>
            <c:numRef>
              <c:f>Sheet1!$D$2:$D$96</c:f>
              <c:numCache>
                <c:formatCode>0.0%</c:formatCode>
                <c:ptCount val="95"/>
                <c:pt idx="0">
                  <c:v>-1.1238790427020941E-2</c:v>
                </c:pt>
                <c:pt idx="1">
                  <c:v>-1.1981365207526396E-2</c:v>
                </c:pt>
                <c:pt idx="2">
                  <c:v>-1.0516938512331212E-2</c:v>
                </c:pt>
                <c:pt idx="3">
                  <c:v>4.734893177527154E-3</c:v>
                </c:pt>
                <c:pt idx="4">
                  <c:v>1.0179074996676302E-2</c:v>
                </c:pt>
                <c:pt idx="5">
                  <c:v>1.3843015406350094E-2</c:v>
                </c:pt>
                <c:pt idx="6">
                  <c:v>1.9363245368942367E-2</c:v>
                </c:pt>
                <c:pt idx="7">
                  <c:v>3.3970548690079816E-2</c:v>
                </c:pt>
                <c:pt idx="8">
                  <c:v>3.7011908477178543E-2</c:v>
                </c:pt>
                <c:pt idx="9">
                  <c:v>4.9249757150315487E-2</c:v>
                </c:pt>
                <c:pt idx="10">
                  <c:v>5.3147717722802752E-2</c:v>
                </c:pt>
                <c:pt idx="11">
                  <c:v>6.5252363316472661E-2</c:v>
                </c:pt>
                <c:pt idx="12">
                  <c:v>7.5443618692593264E-2</c:v>
                </c:pt>
                <c:pt idx="13">
                  <c:v>9.1735742901565151E-2</c:v>
                </c:pt>
                <c:pt idx="14">
                  <c:v>9.7192562355631382E-2</c:v>
                </c:pt>
                <c:pt idx="15">
                  <c:v>0.1032364875808584</c:v>
                </c:pt>
                <c:pt idx="16">
                  <c:v>0.11087315810299384</c:v>
                </c:pt>
                <c:pt idx="17">
                  <c:v>0.119507899683263</c:v>
                </c:pt>
                <c:pt idx="18">
                  <c:v>0.12754255417567997</c:v>
                </c:pt>
                <c:pt idx="19">
                  <c:v>0.11566331606470465</c:v>
                </c:pt>
                <c:pt idx="20">
                  <c:v>0.10903066514785964</c:v>
                </c:pt>
                <c:pt idx="21">
                  <c:v>9.0637068060656564E-2</c:v>
                </c:pt>
                <c:pt idx="22">
                  <c:v>7.4534087099108803E-2</c:v>
                </c:pt>
                <c:pt idx="23">
                  <c:v>6.242948363691414E-2</c:v>
                </c:pt>
                <c:pt idx="24">
                  <c:v>5.8703998241351897E-2</c:v>
                </c:pt>
                <c:pt idx="25">
                  <c:v>4.2504483792836556E-2</c:v>
                </c:pt>
                <c:pt idx="26">
                  <c:v>2.88996597105847E-2</c:v>
                </c:pt>
                <c:pt idx="27">
                  <c:v>1.0566892517470811E-2</c:v>
                </c:pt>
                <c:pt idx="28">
                  <c:v>-1.5359190661494288E-3</c:v>
                </c:pt>
                <c:pt idx="29">
                  <c:v>-1.3885722081508726E-2</c:v>
                </c:pt>
                <c:pt idx="30">
                  <c:v>-2.9964382277858557E-2</c:v>
                </c:pt>
                <c:pt idx="31">
                  <c:v>-3.5601545584573617E-2</c:v>
                </c:pt>
                <c:pt idx="32">
                  <c:v>-3.8497602819868901E-2</c:v>
                </c:pt>
                <c:pt idx="33">
                  <c:v>-3.7765461754115111E-2</c:v>
                </c:pt>
                <c:pt idx="34">
                  <c:v>-3.593653536836279E-2</c:v>
                </c:pt>
                <c:pt idx="35">
                  <c:v>-3.239886684315791E-2</c:v>
                </c:pt>
                <c:pt idx="36">
                  <c:v>-4.2503146630906756E-2</c:v>
                </c:pt>
                <c:pt idx="37">
                  <c:v>-3.0798361579134615E-2</c:v>
                </c:pt>
                <c:pt idx="38">
                  <c:v>-2.6623967694696261E-2</c:v>
                </c:pt>
                <c:pt idx="39">
                  <c:v>-4.1890350868525369E-2</c:v>
                </c:pt>
                <c:pt idx="40">
                  <c:v>-4.6581612800542613E-2</c:v>
                </c:pt>
                <c:pt idx="41">
                  <c:v>-3.191768729078133E-2</c:v>
                </c:pt>
                <c:pt idx="42">
                  <c:v>-1.5334527567781054E-2</c:v>
                </c:pt>
                <c:pt idx="43">
                  <c:v>1.0411295519648152E-2</c:v>
                </c:pt>
                <c:pt idx="44">
                  <c:v>2.7880202177060345E-2</c:v>
                </c:pt>
                <c:pt idx="45">
                  <c:v>3.9602040022161993E-2</c:v>
                </c:pt>
                <c:pt idx="46">
                  <c:v>5.7830293325478045E-2</c:v>
                </c:pt>
                <c:pt idx="47">
                  <c:v>6.7821438759408534E-2</c:v>
                </c:pt>
                <c:pt idx="48">
                  <c:v>7.2788853807571496E-2</c:v>
                </c:pt>
                <c:pt idx="49">
                  <c:v>9.0442035944326093E-2</c:v>
                </c:pt>
                <c:pt idx="50">
                  <c:v>0.10144754581001357</c:v>
                </c:pt>
                <c:pt idx="51">
                  <c:v>0.14159127428337029</c:v>
                </c:pt>
                <c:pt idx="52">
                  <c:v>0.16614490175245272</c:v>
                </c:pt>
                <c:pt idx="53">
                  <c:v>0.15402992226235229</c:v>
                </c:pt>
                <c:pt idx="54">
                  <c:v>0.15337306951478855</c:v>
                </c:pt>
                <c:pt idx="55">
                  <c:v>0.14306409253835295</c:v>
                </c:pt>
                <c:pt idx="56">
                  <c:v>0.1415382756760373</c:v>
                </c:pt>
                <c:pt idx="57">
                  <c:v>0.14139179012752706</c:v>
                </c:pt>
                <c:pt idx="58">
                  <c:v>0.13722018701534902</c:v>
                </c:pt>
                <c:pt idx="59">
                  <c:v>0.13313843618082086</c:v>
                </c:pt>
                <c:pt idx="60">
                  <c:v>0.16282690271473851</c:v>
                </c:pt>
                <c:pt idx="61">
                  <c:v>0.15920019528633614</c:v>
                </c:pt>
                <c:pt idx="62">
                  <c:v>0.14754617868771663</c:v>
                </c:pt>
                <c:pt idx="63">
                  <c:v>0.13618802746375655</c:v>
                </c:pt>
                <c:pt idx="64">
                  <c:v>0.11418864934061236</c:v>
                </c:pt>
                <c:pt idx="65">
                  <c:v>9.3678552981900476E-2</c:v>
                </c:pt>
                <c:pt idx="66">
                  <c:v>7.3119101838713813E-2</c:v>
                </c:pt>
                <c:pt idx="67">
                  <c:v>5.7006138234360966E-2</c:v>
                </c:pt>
                <c:pt idx="68">
                  <c:v>2.5873740148839284E-2</c:v>
                </c:pt>
                <c:pt idx="69">
                  <c:v>-1.0146116110991428E-3</c:v>
                </c:pt>
                <c:pt idx="70">
                  <c:v>-2.8530708453574725E-2</c:v>
                </c:pt>
                <c:pt idx="71">
                  <c:v>-2.1614267915897625E-2</c:v>
                </c:pt>
                <c:pt idx="72">
                  <c:v>-4.3610744594487563E-2</c:v>
                </c:pt>
                <c:pt idx="73">
                  <c:v>-6.1762726308338775E-2</c:v>
                </c:pt>
                <c:pt idx="74">
                  <c:v>-7.8930264568508504E-2</c:v>
                </c:pt>
                <c:pt idx="75">
                  <c:v>-9.0514259657190302E-2</c:v>
                </c:pt>
                <c:pt idx="76">
                  <c:v>-9.2437924384538864E-2</c:v>
                </c:pt>
                <c:pt idx="77">
                  <c:v>-8.4211237523348775E-2</c:v>
                </c:pt>
                <c:pt idx="78">
                  <c:v>-8.0238762850898412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44E-46D4-A106-1B1AD15B6A41}"/>
            </c:ext>
          </c:extLst>
        </c:ser>
        <c:ser>
          <c:idx val="3"/>
          <c:order val="3"/>
          <c:tx>
            <c:strRef>
              <c:f>Sheet1!$E$1</c:f>
              <c:strCache>
                <c:ptCount val="1"/>
                <c:pt idx="0">
                  <c:v>Forecast - Y/Y</c:v>
                </c:pt>
              </c:strCache>
            </c:strRef>
          </c:tx>
          <c:spPr>
            <a:pattFill prst="ltUpDiag">
              <a:fgClr>
                <a:schemeClr val="bg1">
                  <a:lumMod val="75000"/>
                </a:schemeClr>
              </a:fgClr>
              <a:bgClr>
                <a:schemeClr val="bg1"/>
              </a:bgClr>
            </a:pattFill>
            <a:ln>
              <a:solidFill>
                <a:schemeClr val="bg1">
                  <a:lumMod val="75000"/>
                </a:schemeClr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dPt>
            <c:idx val="51"/>
            <c:invertIfNegative val="0"/>
            <c:bubble3D val="0"/>
            <c:spPr>
              <a:solidFill>
                <a:schemeClr val="bg1">
                  <a:lumMod val="75000"/>
                </a:schemeClr>
              </a:solidFill>
              <a:ln>
                <a:solidFill>
                  <a:schemeClr val="bg1">
                    <a:lumMod val="75000"/>
                  </a:schemeClr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2-E44E-46D4-A106-1B1AD15B6A41}"/>
              </c:ext>
            </c:extLst>
          </c:dPt>
          <c:cat>
            <c:numRef>
              <c:f>Sheet1!$A$2:$A$96</c:f>
              <c:numCache>
                <c:formatCode>[$-409]mmm\-yy;@</c:formatCode>
                <c:ptCount val="95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</c:numCache>
            </c:numRef>
          </c:cat>
          <c:val>
            <c:numRef>
              <c:f>Sheet1!$E$2:$E$96</c:f>
              <c:numCache>
                <c:formatCode>0.0%</c:formatCode>
                <c:ptCount val="95"/>
                <c:pt idx="0">
                  <c:v>0</c:v>
                </c:pt>
                <c:pt idx="1">
                  <c:v>0</c:v>
                </c:pt>
                <c:pt idx="2">
                  <c:v>0</c:v>
                </c:pt>
                <c:pt idx="3">
                  <c:v>0</c:v>
                </c:pt>
                <c:pt idx="4">
                  <c:v>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  <c:pt idx="12">
                  <c:v>0</c:v>
                </c:pt>
                <c:pt idx="13">
                  <c:v>0</c:v>
                </c:pt>
                <c:pt idx="14">
                  <c:v>0</c:v>
                </c:pt>
                <c:pt idx="15">
                  <c:v>0</c:v>
                </c:pt>
                <c:pt idx="16">
                  <c:v>0</c:v>
                </c:pt>
                <c:pt idx="17">
                  <c:v>0</c:v>
                </c:pt>
                <c:pt idx="18">
                  <c:v>0</c:v>
                </c:pt>
                <c:pt idx="19">
                  <c:v>0</c:v>
                </c:pt>
                <c:pt idx="20">
                  <c:v>0</c:v>
                </c:pt>
                <c:pt idx="21">
                  <c:v>0</c:v>
                </c:pt>
                <c:pt idx="22">
                  <c:v>0</c:v>
                </c:pt>
                <c:pt idx="23">
                  <c:v>0</c:v>
                </c:pt>
                <c:pt idx="24">
                  <c:v>0</c:v>
                </c:pt>
                <c:pt idx="25">
                  <c:v>0</c:v>
                </c:pt>
                <c:pt idx="26">
                  <c:v>0</c:v>
                </c:pt>
                <c:pt idx="27">
                  <c:v>0</c:v>
                </c:pt>
                <c:pt idx="28">
                  <c:v>0</c:v>
                </c:pt>
                <c:pt idx="29">
                  <c:v>0</c:v>
                </c:pt>
                <c:pt idx="30">
                  <c:v>0</c:v>
                </c:pt>
                <c:pt idx="31">
                  <c:v>0</c:v>
                </c:pt>
                <c:pt idx="32">
                  <c:v>0</c:v>
                </c:pt>
                <c:pt idx="33">
                  <c:v>0</c:v>
                </c:pt>
                <c:pt idx="34">
                  <c:v>0</c:v>
                </c:pt>
                <c:pt idx="35">
                  <c:v>0</c:v>
                </c:pt>
                <c:pt idx="36">
                  <c:v>0</c:v>
                </c:pt>
                <c:pt idx="37">
                  <c:v>0</c:v>
                </c:pt>
                <c:pt idx="38">
                  <c:v>0</c:v>
                </c:pt>
                <c:pt idx="39">
                  <c:v>0</c:v>
                </c:pt>
                <c:pt idx="40">
                  <c:v>0</c:v>
                </c:pt>
                <c:pt idx="41">
                  <c:v>0</c:v>
                </c:pt>
                <c:pt idx="42">
                  <c:v>0</c:v>
                </c:pt>
                <c:pt idx="43">
                  <c:v>0</c:v>
                </c:pt>
                <c:pt idx="44">
                  <c:v>0</c:v>
                </c:pt>
                <c:pt idx="45">
                  <c:v>0</c:v>
                </c:pt>
                <c:pt idx="46">
                  <c:v>0</c:v>
                </c:pt>
                <c:pt idx="47">
                  <c:v>0</c:v>
                </c:pt>
                <c:pt idx="48">
                  <c:v>0</c:v>
                </c:pt>
                <c:pt idx="49">
                  <c:v>0</c:v>
                </c:pt>
                <c:pt idx="50">
                  <c:v>0</c:v>
                </c:pt>
                <c:pt idx="51">
                  <c:v>0</c:v>
                </c:pt>
                <c:pt idx="52">
                  <c:v>0</c:v>
                </c:pt>
                <c:pt idx="53">
                  <c:v>0</c:v>
                </c:pt>
                <c:pt idx="54">
                  <c:v>0</c:v>
                </c:pt>
                <c:pt idx="78">
                  <c:v>-0.08</c:v>
                </c:pt>
                <c:pt idx="79">
                  <c:v>-8.2265713716115227E-2</c:v>
                </c:pt>
                <c:pt idx="80">
                  <c:v>-6.5685434146819585E-2</c:v>
                </c:pt>
                <c:pt idx="81">
                  <c:v>-5.3737474335587322E-2</c:v>
                </c:pt>
                <c:pt idx="82">
                  <c:v>-4.3912538393308727E-2</c:v>
                </c:pt>
                <c:pt idx="83">
                  <c:v>-6.1537210463563238E-2</c:v>
                </c:pt>
                <c:pt idx="84">
                  <c:v>-6.1730471262182146E-2</c:v>
                </c:pt>
                <c:pt idx="85">
                  <c:v>-5.269873336282789E-2</c:v>
                </c:pt>
                <c:pt idx="86">
                  <c:v>-3.5543800382856115E-2</c:v>
                </c:pt>
                <c:pt idx="87">
                  <c:v>-1.9526544391921856E-2</c:v>
                </c:pt>
                <c:pt idx="88">
                  <c:v>-8.4024998144654334E-3</c:v>
                </c:pt>
                <c:pt idx="89">
                  <c:v>5.878736819495006E-4</c:v>
                </c:pt>
                <c:pt idx="90">
                  <c:v>-2.2746190546743116E-4</c:v>
                </c:pt>
                <c:pt idx="91">
                  <c:v>8.353860261543937E-3</c:v>
                </c:pt>
                <c:pt idx="92">
                  <c:v>1.156953211243824E-2</c:v>
                </c:pt>
                <c:pt idx="93">
                  <c:v>1.8685433197569483E-2</c:v>
                </c:pt>
                <c:pt idx="94">
                  <c:v>2.421407604052429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E44E-46D4-A106-1B1AD15B6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5"/>
        <c:axId val="882887984"/>
        <c:axId val="882887656"/>
      </c:barChart>
      <c:lineChart>
        <c:grouping val="standar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 Index</c:v>
                </c:pt>
              </c:strCache>
            </c:strRef>
          </c:tx>
          <c:spPr>
            <a:ln w="38100">
              <a:solidFill>
                <a:srgbClr val="358B3B"/>
              </a:solidFill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Sheet1!$A$2:$A$96</c:f>
              <c:numCache>
                <c:formatCode>[$-409]mmm\-yy;@</c:formatCode>
                <c:ptCount val="95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</c:numCache>
            </c:numRef>
          </c:cat>
          <c:val>
            <c:numRef>
              <c:f>Sheet1!$B$2:$B$96</c:f>
              <c:numCache>
                <c:formatCode>0.00</c:formatCode>
                <c:ptCount val="95"/>
                <c:pt idx="0">
                  <c:v>114.25354270054657</c:v>
                </c:pt>
                <c:pt idx="1">
                  <c:v>112.57895242076854</c:v>
                </c:pt>
                <c:pt idx="2">
                  <c:v>113.2295394041644</c:v>
                </c:pt>
                <c:pt idx="3">
                  <c:v>113.38970528923744</c:v>
                </c:pt>
                <c:pt idx="4">
                  <c:v>113.54220938736378</c:v>
                </c:pt>
                <c:pt idx="5">
                  <c:v>113.85290931923646</c:v>
                </c:pt>
                <c:pt idx="6">
                  <c:v>115.05457780570501</c:v>
                </c:pt>
                <c:pt idx="7">
                  <c:v>116.35040747526963</c:v>
                </c:pt>
                <c:pt idx="8">
                  <c:v>116.95178943441893</c:v>
                </c:pt>
                <c:pt idx="9">
                  <c:v>118.7349695880566</c:v>
                </c:pt>
                <c:pt idx="10">
                  <c:v>120.57036313332385</c:v>
                </c:pt>
                <c:pt idx="11">
                  <c:v>122.0949698719856</c:v>
                </c:pt>
                <c:pt idx="12">
                  <c:v>122.87324341032453</c:v>
                </c:pt>
                <c:pt idx="13">
                  <c:v>122.9064662561677</c:v>
                </c:pt>
                <c:pt idx="14">
                  <c:v>124.23460847320307</c:v>
                </c:pt>
                <c:pt idx="15">
                  <c:v>125.095660191127</c:v>
                </c:pt>
                <c:pt idx="16">
                  <c:v>126.1309927201322</c:v>
                </c:pt>
                <c:pt idx="17">
                  <c:v>127.45923138480741</c:v>
                </c:pt>
                <c:pt idx="18">
                  <c:v>129.72893252864912</c:v>
                </c:pt>
                <c:pt idx="19">
                  <c:v>129.80788142933892</c:v>
                </c:pt>
                <c:pt idx="20">
                  <c:v>129.70312082668605</c:v>
                </c:pt>
                <c:pt idx="21">
                  <c:v>129.49675910778927</c:v>
                </c:pt>
                <c:pt idx="22">
                  <c:v>129.55696508067419</c:v>
                </c:pt>
                <c:pt idx="23">
                  <c:v>129.71729579575825</c:v>
                </c:pt>
                <c:pt idx="24">
                  <c:v>130.08639407539343</c:v>
                </c:pt>
                <c:pt idx="25">
                  <c:v>128.1305421591878</c:v>
                </c:pt>
                <c:pt idx="26">
                  <c:v>127.82494638235636</c:v>
                </c:pt>
                <c:pt idx="27">
                  <c:v>126.41753258676869</c:v>
                </c:pt>
                <c:pt idx="28">
                  <c:v>125.93726572358099</c:v>
                </c:pt>
                <c:pt idx="29">
                  <c:v>125.68936792107526</c:v>
                </c:pt>
                <c:pt idx="30">
                  <c:v>125.84168520186216</c:v>
                </c:pt>
                <c:pt idx="31">
                  <c:v>125.18652022139538</c:v>
                </c:pt>
                <c:pt idx="32">
                  <c:v>124.70986159660282</c:v>
                </c:pt>
                <c:pt idx="33">
                  <c:v>124.6062542044222</c:v>
                </c:pt>
                <c:pt idx="34">
                  <c:v>124.9011366228348</c:v>
                </c:pt>
                <c:pt idx="35">
                  <c:v>125.51460240201695</c:v>
                </c:pt>
                <c:pt idx="36">
                  <c:v>124.55731299332106</c:v>
                </c:pt>
                <c:pt idx="37">
                  <c:v>124.18433139243858</c:v>
                </c:pt>
                <c:pt idx="38">
                  <c:v>124.42173913929622</c:v>
                </c:pt>
                <c:pt idx="39">
                  <c:v>121.12185779077571</c:v>
                </c:pt>
                <c:pt idx="40">
                  <c:v>120.0709047744861</c:v>
                </c:pt>
                <c:pt idx="41">
                  <c:v>121.67765397999442</c:v>
                </c:pt>
                <c:pt idx="42">
                  <c:v>123.91196241095818</c:v>
                </c:pt>
                <c:pt idx="43">
                  <c:v>126.48987407849674</c:v>
                </c:pt>
                <c:pt idx="44">
                  <c:v>128.18679775138932</c:v>
                </c:pt>
                <c:pt idx="45">
                  <c:v>129.54091607043742</c:v>
                </c:pt>
                <c:pt idx="46">
                  <c:v>132.12420599041894</c:v>
                </c:pt>
                <c:pt idx="47">
                  <c:v>134.02718332223685</c:v>
                </c:pt>
                <c:pt idx="48">
                  <c:v>133.62369703945583</c:v>
                </c:pt>
                <c:pt idx="49">
                  <c:v>135.41581515595561</c:v>
                </c:pt>
                <c:pt idx="50">
                  <c:v>137.04401922039153</c:v>
                </c:pt>
                <c:pt idx="51">
                  <c:v>138.2716559789408</c:v>
                </c:pt>
                <c:pt idx="52">
                  <c:v>140.02007345157119</c:v>
                </c:pt>
                <c:pt idx="53">
                  <c:v>140.41965356359836</c:v>
                </c:pt>
                <c:pt idx="54">
                  <c:v>142.91672043552794</c:v>
                </c:pt>
                <c:pt idx="55">
                  <c:v>144.58603312882741</c:v>
                </c:pt>
                <c:pt idx="56">
                  <c:v>146.3301360695539</c:v>
                </c:pt>
                <c:pt idx="57">
                  <c:v>147.8569380883963</c:v>
                </c:pt>
                <c:pt idx="58">
                  <c:v>150.25431424567873</c:v>
                </c:pt>
                <c:pt idx="59">
                  <c:v>151.87135291547966</c:v>
                </c:pt>
                <c:pt idx="60">
                  <c:v>155.381229757683</c:v>
                </c:pt>
                <c:pt idx="61">
                  <c:v>156.97403937364214</c:v>
                </c:pt>
                <c:pt idx="62">
                  <c:v>157.26434056836629</c:v>
                </c:pt>
                <c:pt idx="63">
                  <c:v>157.10260006085988</c:v>
                </c:pt>
                <c:pt idx="64">
                  <c:v>156.00877651957944</c:v>
                </c:pt>
                <c:pt idx="65">
                  <c:v>153.57396351965602</c:v>
                </c:pt>
                <c:pt idx="66">
                  <c:v>153.36666267150829</c:v>
                </c:pt>
                <c:pt idx="67">
                  <c:v>152.82832452012724</c:v>
                </c:pt>
                <c:pt idx="68">
                  <c:v>150.11624398616183</c:v>
                </c:pt>
                <c:pt idx="69">
                  <c:v>147.70692072223025</c:v>
                </c:pt>
                <c:pt idx="70">
                  <c:v>145.96745221204347</c:v>
                </c:pt>
                <c:pt idx="71">
                  <c:v>148.58876480481464</c:v>
                </c:pt>
                <c:pt idx="72">
                  <c:v>148.6049386319433</c:v>
                </c:pt>
                <c:pt idx="73">
                  <c:v>147.27889474229349</c:v>
                </c:pt>
                <c:pt idx="74">
                  <c:v>144.85142456011312</c:v>
                </c:pt>
                <c:pt idx="75">
                  <c:v>142.88257452613149</c:v>
                </c:pt>
                <c:pt idx="76">
                  <c:v>141.58764903233813</c:v>
                </c:pt>
                <c:pt idx="77">
                  <c:v>140.64131000030017</c:v>
                </c:pt>
                <c:pt idx="78">
                  <c:v>141.0607113961754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4-E44E-46D4-A106-1B1AD15B6A41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 Forecast</c:v>
                </c:pt>
              </c:strCache>
            </c:strRef>
          </c:tx>
          <c:spPr>
            <a:ln w="38100">
              <a:solidFill>
                <a:schemeClr val="tx1"/>
              </a:solidFill>
              <a:prstDash val="sysDot"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circle"/>
            <c:size val="5"/>
            <c:spPr>
              <a:solidFill>
                <a:schemeClr val="bg1"/>
              </a:solidFill>
              <a:ln w="15875">
                <a:solidFill>
                  <a:srgbClr val="358B3B"/>
                </a:solidFill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</c:marker>
          <c:dPt>
            <c:idx val="46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5-E44E-46D4-A106-1B1AD15B6A41}"/>
              </c:ext>
            </c:extLst>
          </c:dPt>
          <c:dPt>
            <c:idx val="51"/>
            <c:marker>
              <c:symbol val="none"/>
            </c:marker>
            <c:bubble3D val="0"/>
            <c:spPr>
              <a:ln w="38100">
                <a:solidFill>
                  <a:srgbClr val="00B050"/>
                </a:solidFill>
                <a:prstDash val="solid"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c:spPr>
            <c:extLst>
              <c:ext xmlns:c16="http://schemas.microsoft.com/office/drawing/2014/chart" uri="{C3380CC4-5D6E-409C-BE32-E72D297353CC}">
                <c16:uniqueId val="{00000007-E44E-46D4-A106-1B1AD15B6A41}"/>
              </c:ext>
            </c:extLst>
          </c:dPt>
          <c:dPt>
            <c:idx val="77"/>
            <c:marker>
              <c:symbol val="none"/>
            </c:marker>
            <c:bubble3D val="0"/>
            <c:extLst>
              <c:ext xmlns:c16="http://schemas.microsoft.com/office/drawing/2014/chart" uri="{C3380CC4-5D6E-409C-BE32-E72D297353CC}">
                <c16:uniqueId val="{00000008-E44E-46D4-A106-1B1AD15B6A41}"/>
              </c:ext>
            </c:extLst>
          </c:dPt>
          <c:cat>
            <c:numRef>
              <c:f>Sheet1!$A$2:$A$96</c:f>
              <c:numCache>
                <c:formatCode>[$-409]mmm\-yy;@</c:formatCode>
                <c:ptCount val="95"/>
                <c:pt idx="0">
                  <c:v>42736</c:v>
                </c:pt>
                <c:pt idx="1">
                  <c:v>42767</c:v>
                </c:pt>
                <c:pt idx="2">
                  <c:v>42795</c:v>
                </c:pt>
                <c:pt idx="3">
                  <c:v>42826</c:v>
                </c:pt>
                <c:pt idx="4">
                  <c:v>42856</c:v>
                </c:pt>
                <c:pt idx="5">
                  <c:v>42887</c:v>
                </c:pt>
                <c:pt idx="6">
                  <c:v>42917</c:v>
                </c:pt>
                <c:pt idx="7">
                  <c:v>42948</c:v>
                </c:pt>
                <c:pt idx="8">
                  <c:v>42979</c:v>
                </c:pt>
                <c:pt idx="9">
                  <c:v>43009</c:v>
                </c:pt>
                <c:pt idx="10">
                  <c:v>43040</c:v>
                </c:pt>
                <c:pt idx="11">
                  <c:v>43070</c:v>
                </c:pt>
                <c:pt idx="12">
                  <c:v>43118</c:v>
                </c:pt>
                <c:pt idx="13">
                  <c:v>43132</c:v>
                </c:pt>
                <c:pt idx="14">
                  <c:v>43160</c:v>
                </c:pt>
                <c:pt idx="15">
                  <c:v>43191</c:v>
                </c:pt>
                <c:pt idx="16">
                  <c:v>43221</c:v>
                </c:pt>
                <c:pt idx="17">
                  <c:v>43252</c:v>
                </c:pt>
                <c:pt idx="18">
                  <c:v>43282</c:v>
                </c:pt>
                <c:pt idx="19">
                  <c:v>43313</c:v>
                </c:pt>
                <c:pt idx="20">
                  <c:v>43344</c:v>
                </c:pt>
                <c:pt idx="21">
                  <c:v>43374</c:v>
                </c:pt>
                <c:pt idx="22">
                  <c:v>43405</c:v>
                </c:pt>
                <c:pt idx="23">
                  <c:v>43435</c:v>
                </c:pt>
                <c:pt idx="24">
                  <c:v>43466</c:v>
                </c:pt>
                <c:pt idx="25">
                  <c:v>43497</c:v>
                </c:pt>
                <c:pt idx="26">
                  <c:v>43543</c:v>
                </c:pt>
                <c:pt idx="27">
                  <c:v>43574</c:v>
                </c:pt>
                <c:pt idx="28">
                  <c:v>43604</c:v>
                </c:pt>
                <c:pt idx="29">
                  <c:v>43635</c:v>
                </c:pt>
                <c:pt idx="30">
                  <c:v>43665</c:v>
                </c:pt>
                <c:pt idx="31">
                  <c:v>43696</c:v>
                </c:pt>
                <c:pt idx="32">
                  <c:v>43727</c:v>
                </c:pt>
                <c:pt idx="33">
                  <c:v>43757</c:v>
                </c:pt>
                <c:pt idx="34">
                  <c:v>43770</c:v>
                </c:pt>
                <c:pt idx="35">
                  <c:v>43800</c:v>
                </c:pt>
                <c:pt idx="36">
                  <c:v>43831</c:v>
                </c:pt>
                <c:pt idx="37">
                  <c:v>43862</c:v>
                </c:pt>
                <c:pt idx="38">
                  <c:v>43910</c:v>
                </c:pt>
                <c:pt idx="39">
                  <c:v>43941</c:v>
                </c:pt>
                <c:pt idx="40">
                  <c:v>43952</c:v>
                </c:pt>
                <c:pt idx="41">
                  <c:v>43983</c:v>
                </c:pt>
                <c:pt idx="42">
                  <c:v>44032</c:v>
                </c:pt>
                <c:pt idx="43">
                  <c:v>44063</c:v>
                </c:pt>
                <c:pt idx="44">
                  <c:v>44094</c:v>
                </c:pt>
                <c:pt idx="45">
                  <c:v>44124</c:v>
                </c:pt>
                <c:pt idx="46">
                  <c:v>44155</c:v>
                </c:pt>
                <c:pt idx="47">
                  <c:v>44185</c:v>
                </c:pt>
                <c:pt idx="48">
                  <c:v>44197</c:v>
                </c:pt>
                <c:pt idx="49">
                  <c:v>44228</c:v>
                </c:pt>
                <c:pt idx="50">
                  <c:v>44256</c:v>
                </c:pt>
                <c:pt idx="51">
                  <c:v>44287</c:v>
                </c:pt>
                <c:pt idx="52">
                  <c:v>44317</c:v>
                </c:pt>
                <c:pt idx="53">
                  <c:v>44348</c:v>
                </c:pt>
                <c:pt idx="54">
                  <c:v>44378</c:v>
                </c:pt>
                <c:pt idx="55">
                  <c:v>44409</c:v>
                </c:pt>
                <c:pt idx="56">
                  <c:v>44440</c:v>
                </c:pt>
                <c:pt idx="57">
                  <c:v>44470</c:v>
                </c:pt>
                <c:pt idx="58">
                  <c:v>44501</c:v>
                </c:pt>
                <c:pt idx="59">
                  <c:v>44531</c:v>
                </c:pt>
                <c:pt idx="60">
                  <c:v>44562</c:v>
                </c:pt>
                <c:pt idx="61">
                  <c:v>44593</c:v>
                </c:pt>
                <c:pt idx="62">
                  <c:v>44621</c:v>
                </c:pt>
                <c:pt idx="63">
                  <c:v>44652</c:v>
                </c:pt>
                <c:pt idx="64">
                  <c:v>44682</c:v>
                </c:pt>
                <c:pt idx="65">
                  <c:v>44713</c:v>
                </c:pt>
                <c:pt idx="66">
                  <c:v>44743</c:v>
                </c:pt>
                <c:pt idx="67">
                  <c:v>44774</c:v>
                </c:pt>
                <c:pt idx="68">
                  <c:v>44805</c:v>
                </c:pt>
                <c:pt idx="69">
                  <c:v>44835</c:v>
                </c:pt>
                <c:pt idx="70">
                  <c:v>44866</c:v>
                </c:pt>
                <c:pt idx="71">
                  <c:v>44896</c:v>
                </c:pt>
                <c:pt idx="72">
                  <c:v>44927</c:v>
                </c:pt>
                <c:pt idx="73">
                  <c:v>44958</c:v>
                </c:pt>
                <c:pt idx="74">
                  <c:v>44986</c:v>
                </c:pt>
                <c:pt idx="75">
                  <c:v>45017</c:v>
                </c:pt>
                <c:pt idx="76">
                  <c:v>45047</c:v>
                </c:pt>
                <c:pt idx="77">
                  <c:v>45078</c:v>
                </c:pt>
                <c:pt idx="78">
                  <c:v>45108</c:v>
                </c:pt>
                <c:pt idx="79">
                  <c:v>45139</c:v>
                </c:pt>
                <c:pt idx="80">
                  <c:v>45170</c:v>
                </c:pt>
                <c:pt idx="81">
                  <c:v>45200</c:v>
                </c:pt>
                <c:pt idx="82">
                  <c:v>45231</c:v>
                </c:pt>
                <c:pt idx="83">
                  <c:v>45261</c:v>
                </c:pt>
                <c:pt idx="84">
                  <c:v>45292</c:v>
                </c:pt>
                <c:pt idx="85">
                  <c:v>45323</c:v>
                </c:pt>
                <c:pt idx="86">
                  <c:v>45352</c:v>
                </c:pt>
                <c:pt idx="87">
                  <c:v>45383</c:v>
                </c:pt>
                <c:pt idx="88">
                  <c:v>45413</c:v>
                </c:pt>
                <c:pt idx="89">
                  <c:v>45444</c:v>
                </c:pt>
                <c:pt idx="90">
                  <c:v>45474</c:v>
                </c:pt>
                <c:pt idx="91">
                  <c:v>45505</c:v>
                </c:pt>
                <c:pt idx="92">
                  <c:v>45536</c:v>
                </c:pt>
                <c:pt idx="93">
                  <c:v>45566</c:v>
                </c:pt>
                <c:pt idx="94">
                  <c:v>45597</c:v>
                </c:pt>
              </c:numCache>
            </c:numRef>
          </c:cat>
          <c:val>
            <c:numRef>
              <c:f>Sheet1!$C$2:$C$96</c:f>
              <c:numCache>
                <c:formatCode>General</c:formatCode>
                <c:ptCount val="95"/>
                <c:pt idx="78" formatCode="0.00">
                  <c:v>141.06</c:v>
                </c:pt>
                <c:pt idx="79" formatCode="0.00">
                  <c:v>140.2557933274409</c:v>
                </c:pt>
                <c:pt idx="80" formatCode="0.00">
                  <c:v>140.2557933274409</c:v>
                </c:pt>
                <c:pt idx="81" formatCode="0.00">
                  <c:v>139.76952386073077</c:v>
                </c:pt>
                <c:pt idx="82" formatCode="0.00">
                  <c:v>139.55765086260865</c:v>
                </c:pt>
                <c:pt idx="83" formatCode="0.00">
                  <c:v>139.44502671249987</c:v>
                </c:pt>
                <c:pt idx="84" formatCode="0.00">
                  <c:v>139.43148573830578</c:v>
                </c:pt>
                <c:pt idx="85" formatCode="0.00">
                  <c:v>139.51748353829737</c:v>
                </c:pt>
                <c:pt idx="86" formatCode="0.00">
                  <c:v>139.70285444037611</c:v>
                </c:pt>
                <c:pt idx="87" formatCode="0.00">
                  <c:v>140.0925715918149</c:v>
                </c:pt>
                <c:pt idx="88" formatCode="0.00">
                  <c:v>140.39795883761332</c:v>
                </c:pt>
                <c:pt idx="89" formatCode="0.00">
                  <c:v>140.72398932504424</c:v>
                </c:pt>
                <c:pt idx="90" formatCode="0.00">
                  <c:v>141.02862545797464</c:v>
                </c:pt>
                <c:pt idx="91" formatCode="0.00">
                  <c:v>141.42747062577033</c:v>
                </c:pt>
                <c:pt idx="92" formatCode="0.00">
                  <c:v>141.87848723229823</c:v>
                </c:pt>
                <c:pt idx="93" formatCode="0.00">
                  <c:v>142.38117796188655</c:v>
                </c:pt>
                <c:pt idx="94" formatCode="0.00">
                  <c:v>142.936910432632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9-E44E-46D4-A106-1B1AD15B6A4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317495936"/>
        <c:axId val="317490056"/>
      </c:lineChart>
      <c:dateAx>
        <c:axId val="317495936"/>
        <c:scaling>
          <c:orientation val="minMax"/>
        </c:scaling>
        <c:delete val="0"/>
        <c:axPos val="b"/>
        <c:majorGridlines>
          <c:spPr>
            <a:ln w="3175">
              <a:noFill/>
            </a:ln>
          </c:spPr>
        </c:majorGridlines>
        <c:numFmt formatCode="yyyy" sourceLinked="0"/>
        <c:majorTickMark val="none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317490056"/>
        <c:crosses val="autoZero"/>
        <c:auto val="1"/>
        <c:lblOffset val="100"/>
        <c:baseTimeUnit val="months"/>
        <c:majorUnit val="12"/>
        <c:majorTimeUnit val="months"/>
        <c:minorUnit val="1"/>
        <c:minorTimeUnit val="months"/>
      </c:dateAx>
      <c:valAx>
        <c:axId val="317490056"/>
        <c:scaling>
          <c:orientation val="minMax"/>
          <c:max val="170"/>
          <c:min val="100"/>
        </c:scaling>
        <c:delete val="0"/>
        <c:axPos val="l"/>
        <c:majorGridlines>
          <c:spPr>
            <a:ln>
              <a:solidFill>
                <a:schemeClr val="bg2">
                  <a:lumMod val="90000"/>
                </a:schemeClr>
              </a:solidFill>
            </a:ln>
          </c:spPr>
        </c:majorGridlines>
        <c:numFmt formatCode="0" sourceLinked="0"/>
        <c:majorTickMark val="none"/>
        <c:minorTickMark val="none"/>
        <c:tickLblPos val="low"/>
        <c:spPr>
          <a:ln w="34925">
            <a:solidFill>
              <a:schemeClr val="tx1"/>
            </a:solidFill>
          </a:ln>
        </c:spPr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317495936"/>
        <c:crossesAt val="45108"/>
        <c:crossBetween val="between"/>
      </c:valAx>
      <c:valAx>
        <c:axId val="882887656"/>
        <c:scaling>
          <c:orientation val="minMax"/>
          <c:min val="-0.15000000000000002"/>
        </c:scaling>
        <c:delete val="0"/>
        <c:axPos val="r"/>
        <c:numFmt formatCode="0%" sourceLinked="0"/>
        <c:majorTickMark val="none"/>
        <c:minorTickMark val="none"/>
        <c:tickLblPos val="nextTo"/>
        <c:txPr>
          <a:bodyPr/>
          <a:lstStyle/>
          <a:p>
            <a:pPr>
              <a:defRPr sz="160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pPr>
            <a:endParaRPr lang="en-US"/>
          </a:p>
        </c:txPr>
        <c:crossAx val="882887984"/>
        <c:crosses val="max"/>
        <c:crossBetween val="between"/>
      </c:valAx>
      <c:dateAx>
        <c:axId val="882887984"/>
        <c:scaling>
          <c:orientation val="minMax"/>
        </c:scaling>
        <c:delete val="1"/>
        <c:axPos val="b"/>
        <c:numFmt formatCode="[$-409]mmm\-yy;@" sourceLinked="1"/>
        <c:majorTickMark val="out"/>
        <c:minorTickMark val="none"/>
        <c:tickLblPos val="nextTo"/>
        <c:crossAx val="882887656"/>
        <c:crosses val="autoZero"/>
        <c:auto val="1"/>
        <c:lblOffset val="100"/>
        <c:baseTimeUnit val="days"/>
        <c:majorUnit val="1"/>
        <c:minorUnit val="1"/>
      </c:dateAx>
      <c:spPr>
        <a:noFill/>
        <a:ln w="9525"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5.2353441878571681E-2"/>
          <c:y val="0.74477777777777776"/>
          <c:w val="0.53567105531275572"/>
          <c:h val="8.0942257217847771E-2"/>
        </c:manualLayout>
      </c:layout>
      <c:overlay val="0"/>
      <c:spPr>
        <a:solidFill>
          <a:schemeClr val="bg1"/>
        </a:solidFill>
        <a:ln>
          <a:solidFill>
            <a:srgbClr val="8E8D8C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/>
        <a:lstStyle/>
        <a:p>
          <a:pPr>
            <a:defRPr sz="140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defRPr>
          </a:pPr>
          <a:endParaRPr lang="en-US"/>
        </a:p>
      </c:txPr>
    </c:legend>
    <c:plotVisOnly val="1"/>
    <c:dispBlanksAs val="gap"/>
    <c:showDLblsOverMax val="0"/>
  </c:chart>
  <c:spPr>
    <a:noFill/>
  </c:spPr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National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 average price per gallon for on-highway diesel, weekly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6.4526242441353646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6.3992149099857301E-2"/>
          <c:y val="8.025306211723536E-2"/>
          <c:w val="0.90304575418865274"/>
          <c:h val="0.76798184601924746"/>
        </c:manualLayout>
      </c:layout>
      <c:lineChart>
        <c:grouping val="standard"/>
        <c:varyColors val="0"/>
        <c:ser>
          <c:idx val="0"/>
          <c:order val="0"/>
          <c:tx>
            <c:strRef>
              <c:f>'Diesel prices'!$B$1</c:f>
              <c:strCache>
                <c:ptCount val="1"/>
              </c:strCache>
            </c:strRef>
          </c:tx>
          <c:spPr>
            <a:ln w="38100" cap="rnd">
              <a:solidFill>
                <a:srgbClr val="358B3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Diesel prices'!$A$2:$A$827</c:f>
              <c:strCache>
                <c:ptCount val="826"/>
                <c:pt idx="0">
                  <c:v>2008</c:v>
                </c:pt>
                <c:pt idx="52">
                  <c:v>2009</c:v>
                </c:pt>
                <c:pt idx="53">
                  <c:v>2009</c:v>
                </c:pt>
                <c:pt idx="54">
                  <c:v>2009</c:v>
                </c:pt>
                <c:pt idx="55">
                  <c:v>2009</c:v>
                </c:pt>
                <c:pt idx="56">
                  <c:v>2009</c:v>
                </c:pt>
                <c:pt idx="57">
                  <c:v>2009</c:v>
                </c:pt>
                <c:pt idx="58">
                  <c:v>2009</c:v>
                </c:pt>
                <c:pt idx="59">
                  <c:v>2009</c:v>
                </c:pt>
                <c:pt idx="97">
                  <c:v>2010</c:v>
                </c:pt>
                <c:pt idx="98">
                  <c:v>2010</c:v>
                </c:pt>
                <c:pt idx="99">
                  <c:v>2010</c:v>
                </c:pt>
                <c:pt idx="100">
                  <c:v>2010</c:v>
                </c:pt>
                <c:pt idx="101">
                  <c:v>2010</c:v>
                </c:pt>
                <c:pt idx="102">
                  <c:v>2010</c:v>
                </c:pt>
                <c:pt idx="103">
                  <c:v>2010</c:v>
                </c:pt>
                <c:pt idx="104">
                  <c:v>2010</c:v>
                </c:pt>
                <c:pt idx="105">
                  <c:v>2010</c:v>
                </c:pt>
                <c:pt idx="106">
                  <c:v>2010</c:v>
                </c:pt>
                <c:pt idx="107">
                  <c:v>2010</c:v>
                </c:pt>
                <c:pt idx="108">
                  <c:v>2010</c:v>
                </c:pt>
                <c:pt idx="109">
                  <c:v>2010</c:v>
                </c:pt>
                <c:pt idx="110">
                  <c:v>2010</c:v>
                </c:pt>
                <c:pt idx="150">
                  <c:v>2011</c:v>
                </c:pt>
                <c:pt idx="151">
                  <c:v>2011</c:v>
                </c:pt>
                <c:pt idx="152">
                  <c:v>2011</c:v>
                </c:pt>
                <c:pt idx="153">
                  <c:v>2011</c:v>
                </c:pt>
                <c:pt idx="154">
                  <c:v>2011</c:v>
                </c:pt>
                <c:pt idx="155">
                  <c:v>2011</c:v>
                </c:pt>
                <c:pt idx="156">
                  <c:v>2011</c:v>
                </c:pt>
                <c:pt idx="157">
                  <c:v>2011</c:v>
                </c:pt>
                <c:pt idx="158">
                  <c:v>2011</c:v>
                </c:pt>
                <c:pt idx="159">
                  <c:v>2011</c:v>
                </c:pt>
                <c:pt idx="160">
                  <c:v>2011</c:v>
                </c:pt>
                <c:pt idx="161">
                  <c:v>2011</c:v>
                </c:pt>
                <c:pt idx="204">
                  <c:v>2012</c:v>
                </c:pt>
                <c:pt idx="205">
                  <c:v>2012</c:v>
                </c:pt>
                <c:pt idx="206">
                  <c:v>2012</c:v>
                </c:pt>
                <c:pt idx="207">
                  <c:v>2012</c:v>
                </c:pt>
                <c:pt idx="208">
                  <c:v>2012</c:v>
                </c:pt>
                <c:pt idx="209">
                  <c:v>2012</c:v>
                </c:pt>
                <c:pt idx="210">
                  <c:v>2012</c:v>
                </c:pt>
                <c:pt idx="211">
                  <c:v>2012</c:v>
                </c:pt>
                <c:pt idx="260">
                  <c:v>2013</c:v>
                </c:pt>
                <c:pt idx="261">
                  <c:v>2013</c:v>
                </c:pt>
                <c:pt idx="262">
                  <c:v>2013</c:v>
                </c:pt>
                <c:pt idx="312">
                  <c:v>2014</c:v>
                </c:pt>
                <c:pt idx="313">
                  <c:v>2014</c:v>
                </c:pt>
                <c:pt idx="314">
                  <c:v>2014</c:v>
                </c:pt>
                <c:pt idx="315">
                  <c:v>1/20/2014</c:v>
                </c:pt>
                <c:pt idx="316">
                  <c:v>1/27/2014</c:v>
                </c:pt>
                <c:pt idx="317">
                  <c:v>2/3/2014</c:v>
                </c:pt>
                <c:pt idx="318">
                  <c:v>2/10/2014</c:v>
                </c:pt>
                <c:pt idx="319">
                  <c:v>2/17/2014</c:v>
                </c:pt>
                <c:pt idx="320">
                  <c:v>2/24/2014</c:v>
                </c:pt>
                <c:pt idx="321">
                  <c:v>3/3/2014</c:v>
                </c:pt>
                <c:pt idx="322">
                  <c:v>3/10/2014</c:v>
                </c:pt>
                <c:pt idx="323">
                  <c:v>3/17/2014</c:v>
                </c:pt>
                <c:pt idx="324">
                  <c:v>3/24/2014</c:v>
                </c:pt>
                <c:pt idx="325">
                  <c:v>3/31/2014</c:v>
                </c:pt>
                <c:pt idx="326">
                  <c:v>4/7/2014</c:v>
                </c:pt>
                <c:pt idx="327">
                  <c:v>4/14/2014</c:v>
                </c:pt>
                <c:pt idx="328">
                  <c:v>4/21/2014</c:v>
                </c:pt>
                <c:pt idx="329">
                  <c:v>4/28/2014</c:v>
                </c:pt>
                <c:pt idx="330">
                  <c:v>5/5/2014</c:v>
                </c:pt>
                <c:pt idx="331">
                  <c:v>5/12/2014</c:v>
                </c:pt>
                <c:pt idx="332">
                  <c:v>5/19/2014</c:v>
                </c:pt>
                <c:pt idx="333">
                  <c:v>5/26/2014</c:v>
                </c:pt>
                <c:pt idx="334">
                  <c:v>6/2/2014</c:v>
                </c:pt>
                <c:pt idx="335">
                  <c:v>6/9/2014</c:v>
                </c:pt>
                <c:pt idx="336">
                  <c:v>6/16/2014</c:v>
                </c:pt>
                <c:pt idx="337">
                  <c:v>6/23/2014</c:v>
                </c:pt>
                <c:pt idx="338">
                  <c:v>6/30/2014</c:v>
                </c:pt>
                <c:pt idx="339">
                  <c:v>7/7/2014</c:v>
                </c:pt>
                <c:pt idx="340">
                  <c:v>7/14/2014</c:v>
                </c:pt>
                <c:pt idx="341">
                  <c:v>7/21/2014</c:v>
                </c:pt>
                <c:pt idx="342">
                  <c:v>7/28/2014</c:v>
                </c:pt>
                <c:pt idx="343">
                  <c:v>8/4/2014</c:v>
                </c:pt>
                <c:pt idx="344">
                  <c:v>8/11/2014</c:v>
                </c:pt>
                <c:pt idx="345">
                  <c:v>8/18/2014</c:v>
                </c:pt>
                <c:pt idx="346">
                  <c:v>8/25/2014</c:v>
                </c:pt>
                <c:pt idx="347">
                  <c:v>9/1/2014</c:v>
                </c:pt>
                <c:pt idx="348">
                  <c:v>9/8/2014</c:v>
                </c:pt>
                <c:pt idx="349">
                  <c:v>9/15/2014</c:v>
                </c:pt>
                <c:pt idx="350">
                  <c:v>9/22/2014</c:v>
                </c:pt>
                <c:pt idx="351">
                  <c:v>9/29/2014</c:v>
                </c:pt>
                <c:pt idx="352">
                  <c:v>10/6/2014</c:v>
                </c:pt>
                <c:pt idx="353">
                  <c:v>10/13/2014</c:v>
                </c:pt>
                <c:pt idx="354">
                  <c:v>10/20/2014</c:v>
                </c:pt>
                <c:pt idx="355">
                  <c:v>10/27/2014</c:v>
                </c:pt>
                <c:pt idx="356">
                  <c:v>11/3/2014</c:v>
                </c:pt>
                <c:pt idx="357">
                  <c:v>11/10/2014</c:v>
                </c:pt>
                <c:pt idx="358">
                  <c:v>11/17/2014</c:v>
                </c:pt>
                <c:pt idx="359">
                  <c:v>11/24/2014</c:v>
                </c:pt>
                <c:pt idx="360">
                  <c:v>12/1/2014</c:v>
                </c:pt>
                <c:pt idx="361">
                  <c:v>12/8/2014</c:v>
                </c:pt>
                <c:pt idx="362">
                  <c:v>12/15/2014</c:v>
                </c:pt>
                <c:pt idx="363">
                  <c:v>12/22/2014</c:v>
                </c:pt>
                <c:pt idx="364">
                  <c:v>2015</c:v>
                </c:pt>
                <c:pt idx="365">
                  <c:v>2015</c:v>
                </c:pt>
                <c:pt idx="366">
                  <c:v>2015</c:v>
                </c:pt>
                <c:pt idx="367">
                  <c:v>01/20/2015</c:v>
                </c:pt>
                <c:pt idx="368">
                  <c:v>01/27/2015</c:v>
                </c:pt>
                <c:pt idx="369">
                  <c:v>02/03/2015</c:v>
                </c:pt>
                <c:pt idx="370">
                  <c:v>02/10/2015</c:v>
                </c:pt>
                <c:pt idx="371">
                  <c:v>02/17/2015</c:v>
                </c:pt>
                <c:pt idx="372">
                  <c:v>02/24/2015</c:v>
                </c:pt>
                <c:pt idx="373">
                  <c:v>03/03/2015</c:v>
                </c:pt>
                <c:pt idx="374">
                  <c:v>03/10/2015</c:v>
                </c:pt>
                <c:pt idx="375">
                  <c:v>03/17/2015</c:v>
                </c:pt>
                <c:pt idx="376">
                  <c:v>03/24/2015</c:v>
                </c:pt>
                <c:pt idx="377">
                  <c:v>03/31/2015</c:v>
                </c:pt>
                <c:pt idx="378">
                  <c:v>04/07/2015</c:v>
                </c:pt>
                <c:pt idx="379">
                  <c:v>04/14/2015</c:v>
                </c:pt>
                <c:pt idx="380">
                  <c:v>04/21/2015</c:v>
                </c:pt>
                <c:pt idx="381">
                  <c:v>04/28/2015</c:v>
                </c:pt>
                <c:pt idx="382">
                  <c:v>05/05/2015</c:v>
                </c:pt>
                <c:pt idx="383">
                  <c:v>05/12/2015</c:v>
                </c:pt>
                <c:pt idx="384">
                  <c:v>05/19/2015</c:v>
                </c:pt>
                <c:pt idx="385">
                  <c:v>05/26/2015</c:v>
                </c:pt>
                <c:pt idx="386">
                  <c:v>06/02/2015</c:v>
                </c:pt>
                <c:pt idx="387">
                  <c:v>06/09/2015</c:v>
                </c:pt>
                <c:pt idx="388">
                  <c:v>06/16/2015</c:v>
                </c:pt>
                <c:pt idx="389">
                  <c:v>06/23/2015</c:v>
                </c:pt>
                <c:pt idx="390">
                  <c:v>06/30/2015</c:v>
                </c:pt>
                <c:pt idx="391">
                  <c:v>07/07/2015</c:v>
                </c:pt>
                <c:pt idx="392">
                  <c:v>07/14/2015</c:v>
                </c:pt>
                <c:pt idx="393">
                  <c:v>07/21/2015</c:v>
                </c:pt>
                <c:pt idx="394">
                  <c:v>07/28/2015</c:v>
                </c:pt>
                <c:pt idx="395">
                  <c:v>08/04/2015</c:v>
                </c:pt>
                <c:pt idx="396">
                  <c:v>08/11/2015</c:v>
                </c:pt>
                <c:pt idx="397">
                  <c:v>08/18/2015</c:v>
                </c:pt>
                <c:pt idx="398">
                  <c:v>08/25/2015</c:v>
                </c:pt>
                <c:pt idx="399">
                  <c:v>09/01/2015</c:v>
                </c:pt>
                <c:pt idx="400">
                  <c:v>09/08/2015</c:v>
                </c:pt>
                <c:pt idx="401">
                  <c:v>09/15/2015</c:v>
                </c:pt>
                <c:pt idx="402">
                  <c:v>09/22/2015</c:v>
                </c:pt>
                <c:pt idx="403">
                  <c:v>09/29/2015</c:v>
                </c:pt>
                <c:pt idx="404">
                  <c:v>10/06/2015</c:v>
                </c:pt>
                <c:pt idx="405">
                  <c:v>10/13/2015</c:v>
                </c:pt>
                <c:pt idx="406">
                  <c:v>10/20/2015</c:v>
                </c:pt>
                <c:pt idx="407">
                  <c:v>10/27/2015</c:v>
                </c:pt>
                <c:pt idx="408">
                  <c:v>11/03/2015</c:v>
                </c:pt>
                <c:pt idx="409">
                  <c:v>11/10/2015</c:v>
                </c:pt>
                <c:pt idx="410">
                  <c:v>11/17/2015</c:v>
                </c:pt>
                <c:pt idx="411">
                  <c:v>11/24/2015</c:v>
                </c:pt>
                <c:pt idx="412">
                  <c:v>12/01/2015</c:v>
                </c:pt>
                <c:pt idx="413">
                  <c:v>12/08/2015</c:v>
                </c:pt>
                <c:pt idx="414">
                  <c:v>12/15/2015</c:v>
                </c:pt>
                <c:pt idx="415">
                  <c:v>12/22/2015</c:v>
                </c:pt>
                <c:pt idx="416">
                  <c:v>2016</c:v>
                </c:pt>
                <c:pt idx="417">
                  <c:v>2016</c:v>
                </c:pt>
                <c:pt idx="418">
                  <c:v>2016</c:v>
                </c:pt>
                <c:pt idx="419">
                  <c:v>01/19/2016</c:v>
                </c:pt>
                <c:pt idx="420">
                  <c:v>01/26/2016</c:v>
                </c:pt>
                <c:pt idx="421">
                  <c:v>02/02/2016</c:v>
                </c:pt>
                <c:pt idx="422">
                  <c:v>02/09/2016</c:v>
                </c:pt>
                <c:pt idx="423">
                  <c:v>02/16/2016</c:v>
                </c:pt>
                <c:pt idx="424">
                  <c:v>02/23/2016</c:v>
                </c:pt>
                <c:pt idx="425">
                  <c:v>03/01/2016</c:v>
                </c:pt>
                <c:pt idx="426">
                  <c:v>03/08/2016</c:v>
                </c:pt>
                <c:pt idx="427">
                  <c:v>03/15/2016</c:v>
                </c:pt>
                <c:pt idx="428">
                  <c:v>03/22/2016</c:v>
                </c:pt>
                <c:pt idx="429">
                  <c:v>03/29/2016</c:v>
                </c:pt>
                <c:pt idx="430">
                  <c:v>04/05/2016</c:v>
                </c:pt>
                <c:pt idx="431">
                  <c:v>04/12/2016</c:v>
                </c:pt>
                <c:pt idx="432">
                  <c:v>04/19/2016</c:v>
                </c:pt>
                <c:pt idx="433">
                  <c:v>04/26/2016</c:v>
                </c:pt>
                <c:pt idx="434">
                  <c:v>05/03/2016</c:v>
                </c:pt>
                <c:pt idx="435">
                  <c:v>05/10/2016</c:v>
                </c:pt>
                <c:pt idx="436">
                  <c:v>05/17/2016</c:v>
                </c:pt>
                <c:pt idx="437">
                  <c:v>05/24/2016</c:v>
                </c:pt>
                <c:pt idx="438">
                  <c:v>05/31/2016</c:v>
                </c:pt>
                <c:pt idx="439">
                  <c:v>06/07/2016</c:v>
                </c:pt>
                <c:pt idx="440">
                  <c:v>06/14/2016</c:v>
                </c:pt>
                <c:pt idx="441">
                  <c:v>06/21/2016</c:v>
                </c:pt>
                <c:pt idx="442">
                  <c:v>06/28/2016</c:v>
                </c:pt>
                <c:pt idx="443">
                  <c:v>07/05/2016</c:v>
                </c:pt>
                <c:pt idx="444">
                  <c:v>07/12/2016</c:v>
                </c:pt>
                <c:pt idx="445">
                  <c:v>07/19/2016</c:v>
                </c:pt>
                <c:pt idx="446">
                  <c:v>07/26/2016</c:v>
                </c:pt>
                <c:pt idx="447">
                  <c:v>08/02/2016</c:v>
                </c:pt>
                <c:pt idx="448">
                  <c:v>08/09/2016</c:v>
                </c:pt>
                <c:pt idx="449">
                  <c:v>08/16/2016</c:v>
                </c:pt>
                <c:pt idx="450">
                  <c:v>08/23/2016</c:v>
                </c:pt>
                <c:pt idx="451">
                  <c:v>08/30/2016</c:v>
                </c:pt>
                <c:pt idx="452">
                  <c:v>09/06/2016</c:v>
                </c:pt>
                <c:pt idx="453">
                  <c:v>09/13/2016</c:v>
                </c:pt>
                <c:pt idx="454">
                  <c:v>09/20/2016</c:v>
                </c:pt>
                <c:pt idx="455">
                  <c:v>09/27/2016</c:v>
                </c:pt>
                <c:pt idx="456">
                  <c:v>10/04/2016</c:v>
                </c:pt>
                <c:pt idx="457">
                  <c:v>10/11/2016</c:v>
                </c:pt>
                <c:pt idx="458">
                  <c:v>10/18/2016</c:v>
                </c:pt>
                <c:pt idx="459">
                  <c:v>10/25/2016</c:v>
                </c:pt>
                <c:pt idx="460">
                  <c:v>11/01/2016</c:v>
                </c:pt>
                <c:pt idx="461">
                  <c:v>11/08/2016</c:v>
                </c:pt>
                <c:pt idx="462">
                  <c:v>11/15/2016</c:v>
                </c:pt>
                <c:pt idx="463">
                  <c:v>11/22/2016</c:v>
                </c:pt>
                <c:pt idx="464">
                  <c:v>11/29/2016</c:v>
                </c:pt>
                <c:pt idx="465">
                  <c:v>12/06/2016</c:v>
                </c:pt>
                <c:pt idx="466">
                  <c:v>12/13/2016</c:v>
                </c:pt>
                <c:pt idx="467">
                  <c:v>12/20/2016</c:v>
                </c:pt>
                <c:pt idx="468">
                  <c:v>2017</c:v>
                </c:pt>
                <c:pt idx="469">
                  <c:v>2017</c:v>
                </c:pt>
                <c:pt idx="470">
                  <c:v>2017</c:v>
                </c:pt>
                <c:pt idx="471">
                  <c:v>1/16/2017</c:v>
                </c:pt>
                <c:pt idx="472">
                  <c:v>1/23/2017</c:v>
                </c:pt>
                <c:pt idx="473">
                  <c:v>1/30/2017</c:v>
                </c:pt>
                <c:pt idx="474">
                  <c:v>2/6/2017</c:v>
                </c:pt>
                <c:pt idx="475">
                  <c:v>2/13/2017</c:v>
                </c:pt>
                <c:pt idx="476">
                  <c:v>2/20/2017</c:v>
                </c:pt>
                <c:pt idx="477">
                  <c:v>2/27/2017</c:v>
                </c:pt>
                <c:pt idx="478">
                  <c:v>3/6/2017</c:v>
                </c:pt>
                <c:pt idx="479">
                  <c:v>3/13/2017</c:v>
                </c:pt>
                <c:pt idx="480">
                  <c:v>3/20/2017</c:v>
                </c:pt>
                <c:pt idx="481">
                  <c:v>3/27/2017</c:v>
                </c:pt>
                <c:pt idx="482">
                  <c:v>4/3/2017</c:v>
                </c:pt>
                <c:pt idx="483">
                  <c:v>4/10/2017</c:v>
                </c:pt>
                <c:pt idx="484">
                  <c:v>4/17/2017</c:v>
                </c:pt>
                <c:pt idx="485">
                  <c:v>4/24/2017</c:v>
                </c:pt>
                <c:pt idx="486">
                  <c:v>5/1/2017</c:v>
                </c:pt>
                <c:pt idx="487">
                  <c:v>5/8/2017</c:v>
                </c:pt>
                <c:pt idx="488">
                  <c:v>5/15/2017</c:v>
                </c:pt>
                <c:pt idx="489">
                  <c:v>5/22/2017</c:v>
                </c:pt>
                <c:pt idx="490">
                  <c:v>5/29/2017</c:v>
                </c:pt>
                <c:pt idx="491">
                  <c:v>6/5/2017</c:v>
                </c:pt>
                <c:pt idx="492">
                  <c:v>6/12/2017</c:v>
                </c:pt>
                <c:pt idx="493">
                  <c:v>6/19/2017</c:v>
                </c:pt>
                <c:pt idx="494">
                  <c:v>6/26/2017</c:v>
                </c:pt>
                <c:pt idx="495">
                  <c:v>7/3/2017</c:v>
                </c:pt>
                <c:pt idx="496">
                  <c:v>7/10/2017</c:v>
                </c:pt>
                <c:pt idx="497">
                  <c:v>7/17/2017</c:v>
                </c:pt>
                <c:pt idx="498">
                  <c:v>7/24/2017</c:v>
                </c:pt>
                <c:pt idx="499">
                  <c:v>7/31/2017</c:v>
                </c:pt>
                <c:pt idx="500">
                  <c:v>8/7/2017</c:v>
                </c:pt>
                <c:pt idx="501">
                  <c:v>8/14/2017</c:v>
                </c:pt>
                <c:pt idx="502">
                  <c:v>8/21/2017</c:v>
                </c:pt>
                <c:pt idx="503">
                  <c:v>8/28/2017</c:v>
                </c:pt>
                <c:pt idx="504">
                  <c:v>9/4/2017</c:v>
                </c:pt>
                <c:pt idx="505">
                  <c:v>9/11/2017</c:v>
                </c:pt>
                <c:pt idx="506">
                  <c:v>9/18/2017</c:v>
                </c:pt>
                <c:pt idx="507">
                  <c:v>9/25/2017</c:v>
                </c:pt>
                <c:pt idx="508">
                  <c:v>10/2/2017</c:v>
                </c:pt>
                <c:pt idx="509">
                  <c:v>10/9/2017</c:v>
                </c:pt>
                <c:pt idx="510">
                  <c:v>10/16/2017</c:v>
                </c:pt>
                <c:pt idx="511">
                  <c:v>10/23/2017</c:v>
                </c:pt>
                <c:pt idx="512">
                  <c:v>10/30/2017</c:v>
                </c:pt>
                <c:pt idx="513">
                  <c:v>11/6/2017</c:v>
                </c:pt>
                <c:pt idx="514">
                  <c:v>11/13/2017</c:v>
                </c:pt>
                <c:pt idx="515">
                  <c:v>11/20/2017</c:v>
                </c:pt>
                <c:pt idx="516">
                  <c:v>11/27/2017</c:v>
                </c:pt>
                <c:pt idx="517">
                  <c:v>12/4/2017</c:v>
                </c:pt>
                <c:pt idx="518">
                  <c:v>12/11/2017</c:v>
                </c:pt>
                <c:pt idx="519">
                  <c:v>2018</c:v>
                </c:pt>
                <c:pt idx="520">
                  <c:v>2018</c:v>
                </c:pt>
                <c:pt idx="521">
                  <c:v>2018</c:v>
                </c:pt>
                <c:pt idx="522">
                  <c:v>2018</c:v>
                </c:pt>
                <c:pt idx="523">
                  <c:v>1/15/2018</c:v>
                </c:pt>
                <c:pt idx="524">
                  <c:v>1/22/2018</c:v>
                </c:pt>
                <c:pt idx="525">
                  <c:v>1/29/2018</c:v>
                </c:pt>
                <c:pt idx="526">
                  <c:v>2/5/2018</c:v>
                </c:pt>
                <c:pt idx="527">
                  <c:v>2/12/2018</c:v>
                </c:pt>
                <c:pt idx="528">
                  <c:v>2/19/2018</c:v>
                </c:pt>
                <c:pt idx="529">
                  <c:v>2/26/2018</c:v>
                </c:pt>
                <c:pt idx="530">
                  <c:v>3/5/2018</c:v>
                </c:pt>
                <c:pt idx="531">
                  <c:v>3/12/2018</c:v>
                </c:pt>
                <c:pt idx="532">
                  <c:v>3/19/2018</c:v>
                </c:pt>
                <c:pt idx="533">
                  <c:v>3/26/2018</c:v>
                </c:pt>
                <c:pt idx="534">
                  <c:v>4/2/2018</c:v>
                </c:pt>
                <c:pt idx="535">
                  <c:v>4/9/2018</c:v>
                </c:pt>
                <c:pt idx="536">
                  <c:v>4/16/2018</c:v>
                </c:pt>
                <c:pt idx="537">
                  <c:v>4/23/2018</c:v>
                </c:pt>
                <c:pt idx="538">
                  <c:v>4/30/2018</c:v>
                </c:pt>
                <c:pt idx="539">
                  <c:v>5/7/2018</c:v>
                </c:pt>
                <c:pt idx="540">
                  <c:v>5/14/2018</c:v>
                </c:pt>
                <c:pt idx="541">
                  <c:v>5/21/2018</c:v>
                </c:pt>
                <c:pt idx="542">
                  <c:v>5/28/2018</c:v>
                </c:pt>
                <c:pt idx="543">
                  <c:v>6/4/2018</c:v>
                </c:pt>
                <c:pt idx="544">
                  <c:v>6/11/2018</c:v>
                </c:pt>
                <c:pt idx="545">
                  <c:v>6/18/2018</c:v>
                </c:pt>
                <c:pt idx="546">
                  <c:v>6/25/2018</c:v>
                </c:pt>
                <c:pt idx="547">
                  <c:v>7/2/2018</c:v>
                </c:pt>
                <c:pt idx="548">
                  <c:v>7/9/2018</c:v>
                </c:pt>
                <c:pt idx="549">
                  <c:v>7/16/2018</c:v>
                </c:pt>
                <c:pt idx="550">
                  <c:v>7/23/2018</c:v>
                </c:pt>
                <c:pt idx="551">
                  <c:v>7/30/2018</c:v>
                </c:pt>
                <c:pt idx="552">
                  <c:v>8/6/2018</c:v>
                </c:pt>
                <c:pt idx="553">
                  <c:v>8/13/2018</c:v>
                </c:pt>
                <c:pt idx="554">
                  <c:v>8/20/2018</c:v>
                </c:pt>
                <c:pt idx="555">
                  <c:v>8/27/2018</c:v>
                </c:pt>
                <c:pt idx="556">
                  <c:v>9/3/2018</c:v>
                </c:pt>
                <c:pt idx="557">
                  <c:v>9/10/2018</c:v>
                </c:pt>
                <c:pt idx="558">
                  <c:v>9/17/2018</c:v>
                </c:pt>
                <c:pt idx="559">
                  <c:v>9/24/2018</c:v>
                </c:pt>
                <c:pt idx="560">
                  <c:v>10/1/2018</c:v>
                </c:pt>
                <c:pt idx="561">
                  <c:v>10/8/2018</c:v>
                </c:pt>
                <c:pt idx="562">
                  <c:v>10/15/2018</c:v>
                </c:pt>
                <c:pt idx="563">
                  <c:v>10/22/2018</c:v>
                </c:pt>
                <c:pt idx="564">
                  <c:v>10/29/2018</c:v>
                </c:pt>
                <c:pt idx="565">
                  <c:v>11/5/2018</c:v>
                </c:pt>
                <c:pt idx="566">
                  <c:v>11/12/2018</c:v>
                </c:pt>
                <c:pt idx="567">
                  <c:v>11/19/2018</c:v>
                </c:pt>
                <c:pt idx="568">
                  <c:v>11/26/2018</c:v>
                </c:pt>
                <c:pt idx="569">
                  <c:v>12/3/2018</c:v>
                </c:pt>
                <c:pt idx="570">
                  <c:v>12/10/2018</c:v>
                </c:pt>
                <c:pt idx="571">
                  <c:v>12/17/2018</c:v>
                </c:pt>
                <c:pt idx="572">
                  <c:v>2019</c:v>
                </c:pt>
                <c:pt idx="573">
                  <c:v>2019</c:v>
                </c:pt>
                <c:pt idx="574">
                  <c:v>2019</c:v>
                </c:pt>
                <c:pt idx="575">
                  <c:v>2019</c:v>
                </c:pt>
                <c:pt idx="576">
                  <c:v>01/21/2019</c:v>
                </c:pt>
                <c:pt idx="577">
                  <c:v>01/28/2019</c:v>
                </c:pt>
                <c:pt idx="578">
                  <c:v>02/04/2019</c:v>
                </c:pt>
                <c:pt idx="579">
                  <c:v>02/11/2019</c:v>
                </c:pt>
                <c:pt idx="580">
                  <c:v>02/18/2019</c:v>
                </c:pt>
                <c:pt idx="581">
                  <c:v>02/25/2019</c:v>
                </c:pt>
                <c:pt idx="582">
                  <c:v>03/04/2019</c:v>
                </c:pt>
                <c:pt idx="583">
                  <c:v>03/11/2019</c:v>
                </c:pt>
                <c:pt idx="584">
                  <c:v>03/18/2019</c:v>
                </c:pt>
                <c:pt idx="585">
                  <c:v>03/25/2019</c:v>
                </c:pt>
                <c:pt idx="586">
                  <c:v>04/01/2019</c:v>
                </c:pt>
                <c:pt idx="587">
                  <c:v>04/08/2019</c:v>
                </c:pt>
                <c:pt idx="588">
                  <c:v>04/15/2019</c:v>
                </c:pt>
                <c:pt idx="589">
                  <c:v>04/22/2019</c:v>
                </c:pt>
                <c:pt idx="590">
                  <c:v>04/29/2019</c:v>
                </c:pt>
                <c:pt idx="591">
                  <c:v>05/06/2019</c:v>
                </c:pt>
                <c:pt idx="592">
                  <c:v>05/13/2019</c:v>
                </c:pt>
                <c:pt idx="593">
                  <c:v>05/20/2019</c:v>
                </c:pt>
                <c:pt idx="594">
                  <c:v>05/27/2019</c:v>
                </c:pt>
                <c:pt idx="595">
                  <c:v>06/03/2019</c:v>
                </c:pt>
                <c:pt idx="596">
                  <c:v>06/10/2019</c:v>
                </c:pt>
                <c:pt idx="597">
                  <c:v>06/17/2019</c:v>
                </c:pt>
                <c:pt idx="598">
                  <c:v>06/24/2019</c:v>
                </c:pt>
                <c:pt idx="599">
                  <c:v>07/01/2019</c:v>
                </c:pt>
                <c:pt idx="600">
                  <c:v>07/08/2019</c:v>
                </c:pt>
                <c:pt idx="601">
                  <c:v>07/15/2019</c:v>
                </c:pt>
                <c:pt idx="602">
                  <c:v>07/22/2019</c:v>
                </c:pt>
                <c:pt idx="603">
                  <c:v>07/29/2019</c:v>
                </c:pt>
                <c:pt idx="604">
                  <c:v>08/05/2019</c:v>
                </c:pt>
                <c:pt idx="605">
                  <c:v>08/12/2019</c:v>
                </c:pt>
                <c:pt idx="606">
                  <c:v>08/19/2019</c:v>
                </c:pt>
                <c:pt idx="607">
                  <c:v>08/26/2019</c:v>
                </c:pt>
                <c:pt idx="608">
                  <c:v>09/02/2019</c:v>
                </c:pt>
                <c:pt idx="609">
                  <c:v>09/09/2019</c:v>
                </c:pt>
                <c:pt idx="610">
                  <c:v>09/16/2019</c:v>
                </c:pt>
                <c:pt idx="611">
                  <c:v>09/23/2019</c:v>
                </c:pt>
                <c:pt idx="612">
                  <c:v>09/30/2019</c:v>
                </c:pt>
                <c:pt idx="613">
                  <c:v>10/07/2019</c:v>
                </c:pt>
                <c:pt idx="614">
                  <c:v>10/14/2019</c:v>
                </c:pt>
                <c:pt idx="615">
                  <c:v>10/21/2019</c:v>
                </c:pt>
                <c:pt idx="616">
                  <c:v>10/28/2019</c:v>
                </c:pt>
                <c:pt idx="617">
                  <c:v>11/04/2019</c:v>
                </c:pt>
                <c:pt idx="618">
                  <c:v>11/11/2019</c:v>
                </c:pt>
                <c:pt idx="619">
                  <c:v>11/18/2019</c:v>
                </c:pt>
                <c:pt idx="620">
                  <c:v>11/25/2019</c:v>
                </c:pt>
                <c:pt idx="621">
                  <c:v>12/02/2019</c:v>
                </c:pt>
                <c:pt idx="622">
                  <c:v>12/09/2019</c:v>
                </c:pt>
                <c:pt idx="623">
                  <c:v>12/16/2019</c:v>
                </c:pt>
                <c:pt idx="624">
                  <c:v>2020</c:v>
                </c:pt>
                <c:pt idx="625">
                  <c:v>2020</c:v>
                </c:pt>
                <c:pt idx="626">
                  <c:v>2020</c:v>
                </c:pt>
                <c:pt idx="627">
                  <c:v>2020</c:v>
                </c:pt>
                <c:pt idx="628">
                  <c:v>01/20/2020</c:v>
                </c:pt>
                <c:pt idx="629">
                  <c:v>01/27/2020</c:v>
                </c:pt>
                <c:pt idx="630">
                  <c:v>02/03/2020</c:v>
                </c:pt>
                <c:pt idx="631">
                  <c:v>02/10/2020</c:v>
                </c:pt>
                <c:pt idx="632">
                  <c:v>02/17/2020</c:v>
                </c:pt>
                <c:pt idx="633">
                  <c:v>02/24/2020</c:v>
                </c:pt>
                <c:pt idx="634">
                  <c:v>03/02/2020</c:v>
                </c:pt>
                <c:pt idx="635">
                  <c:v>03/09/2020</c:v>
                </c:pt>
                <c:pt idx="636">
                  <c:v>03/16/2020</c:v>
                </c:pt>
                <c:pt idx="637">
                  <c:v>03/23/2020</c:v>
                </c:pt>
                <c:pt idx="638">
                  <c:v>03/30/2020</c:v>
                </c:pt>
                <c:pt idx="639">
                  <c:v>04/06/2020</c:v>
                </c:pt>
                <c:pt idx="640">
                  <c:v>04/13/2020</c:v>
                </c:pt>
                <c:pt idx="641">
                  <c:v>04/20/2020</c:v>
                </c:pt>
                <c:pt idx="642">
                  <c:v>04/27/2020</c:v>
                </c:pt>
                <c:pt idx="643">
                  <c:v>05/04/2020</c:v>
                </c:pt>
                <c:pt idx="644">
                  <c:v>05/11/2020</c:v>
                </c:pt>
                <c:pt idx="645">
                  <c:v>05/18/2020</c:v>
                </c:pt>
                <c:pt idx="646">
                  <c:v>05/25/2020</c:v>
                </c:pt>
                <c:pt idx="647">
                  <c:v>06/01/2020</c:v>
                </c:pt>
                <c:pt idx="648">
                  <c:v>06/08/2020</c:v>
                </c:pt>
                <c:pt idx="649">
                  <c:v>06/15/2020</c:v>
                </c:pt>
                <c:pt idx="650">
                  <c:v>06/22/2020</c:v>
                </c:pt>
                <c:pt idx="651">
                  <c:v>06/29/2020</c:v>
                </c:pt>
                <c:pt idx="652">
                  <c:v>07/06/2020</c:v>
                </c:pt>
                <c:pt idx="653">
                  <c:v>07/13/2020</c:v>
                </c:pt>
                <c:pt idx="654">
                  <c:v>07/20/2020</c:v>
                </c:pt>
                <c:pt idx="655">
                  <c:v>07/27/2020</c:v>
                </c:pt>
                <c:pt idx="656">
                  <c:v>08/03/2020</c:v>
                </c:pt>
                <c:pt idx="657">
                  <c:v>08/10/2020</c:v>
                </c:pt>
                <c:pt idx="658">
                  <c:v>08/17/2020</c:v>
                </c:pt>
                <c:pt idx="659">
                  <c:v>08/24/2020</c:v>
                </c:pt>
                <c:pt idx="660">
                  <c:v>08/31/2020</c:v>
                </c:pt>
                <c:pt idx="661">
                  <c:v>09/07/2020</c:v>
                </c:pt>
                <c:pt idx="662">
                  <c:v>09/14/2020</c:v>
                </c:pt>
                <c:pt idx="663">
                  <c:v>09/21/2020</c:v>
                </c:pt>
                <c:pt idx="664">
                  <c:v>09/28/2020</c:v>
                </c:pt>
                <c:pt idx="665">
                  <c:v>10/05/2020</c:v>
                </c:pt>
                <c:pt idx="666">
                  <c:v>10/12/2020</c:v>
                </c:pt>
                <c:pt idx="667">
                  <c:v>10/19/2020</c:v>
                </c:pt>
                <c:pt idx="668">
                  <c:v>10/26/2020</c:v>
                </c:pt>
                <c:pt idx="669">
                  <c:v>11/02/2020</c:v>
                </c:pt>
                <c:pt idx="670">
                  <c:v>11/09/2020</c:v>
                </c:pt>
                <c:pt idx="671">
                  <c:v>11/16/2020</c:v>
                </c:pt>
                <c:pt idx="672">
                  <c:v>11/23/2020</c:v>
                </c:pt>
                <c:pt idx="673">
                  <c:v>11/30/2020</c:v>
                </c:pt>
                <c:pt idx="674">
                  <c:v>12/07/2020</c:v>
                </c:pt>
                <c:pt idx="675">
                  <c:v>12/14/2020</c:v>
                </c:pt>
                <c:pt idx="676">
                  <c:v>2021</c:v>
                </c:pt>
                <c:pt idx="677">
                  <c:v>2021</c:v>
                </c:pt>
                <c:pt idx="678">
                  <c:v>2021</c:v>
                </c:pt>
                <c:pt idx="679">
                  <c:v>2021</c:v>
                </c:pt>
                <c:pt idx="680">
                  <c:v>01/18/2021</c:v>
                </c:pt>
                <c:pt idx="681">
                  <c:v>01/25/2021</c:v>
                </c:pt>
                <c:pt idx="682">
                  <c:v>02/01/2021</c:v>
                </c:pt>
                <c:pt idx="683">
                  <c:v>02/08/2021</c:v>
                </c:pt>
                <c:pt idx="684">
                  <c:v>02/15/2021</c:v>
                </c:pt>
                <c:pt idx="685">
                  <c:v>02/22/2021</c:v>
                </c:pt>
                <c:pt idx="686">
                  <c:v>03/01/2021</c:v>
                </c:pt>
                <c:pt idx="687">
                  <c:v>03/08/2021</c:v>
                </c:pt>
                <c:pt idx="688">
                  <c:v>03/15/2021</c:v>
                </c:pt>
                <c:pt idx="689">
                  <c:v>03/22/2021</c:v>
                </c:pt>
                <c:pt idx="690">
                  <c:v>03/29/2021</c:v>
                </c:pt>
                <c:pt idx="691">
                  <c:v>04/05/2021</c:v>
                </c:pt>
                <c:pt idx="692">
                  <c:v>04/12/2021</c:v>
                </c:pt>
                <c:pt idx="693">
                  <c:v>04/19/2021</c:v>
                </c:pt>
                <c:pt idx="694">
                  <c:v>04/26/2021</c:v>
                </c:pt>
                <c:pt idx="695">
                  <c:v>05/03/2021</c:v>
                </c:pt>
                <c:pt idx="696">
                  <c:v>05/10/2021</c:v>
                </c:pt>
                <c:pt idx="697">
                  <c:v>05/17/2021</c:v>
                </c:pt>
                <c:pt idx="698">
                  <c:v>05/24/2021</c:v>
                </c:pt>
                <c:pt idx="699">
                  <c:v>5/31/2021</c:v>
                </c:pt>
                <c:pt idx="700">
                  <c:v>6/7/2021</c:v>
                </c:pt>
                <c:pt idx="701">
                  <c:v>6/14/2021</c:v>
                </c:pt>
                <c:pt idx="702">
                  <c:v>6/21/2021</c:v>
                </c:pt>
                <c:pt idx="703">
                  <c:v>6/28/2021</c:v>
                </c:pt>
                <c:pt idx="704">
                  <c:v>7/5/2021</c:v>
                </c:pt>
                <c:pt idx="705">
                  <c:v>7/12/2021</c:v>
                </c:pt>
                <c:pt idx="706">
                  <c:v>7/19/2021</c:v>
                </c:pt>
                <c:pt idx="707">
                  <c:v>7/26/2021</c:v>
                </c:pt>
                <c:pt idx="708">
                  <c:v>8/2/2021</c:v>
                </c:pt>
                <c:pt idx="709">
                  <c:v>8/9/2021</c:v>
                </c:pt>
                <c:pt idx="710">
                  <c:v>8/16/2021</c:v>
                </c:pt>
                <c:pt idx="711">
                  <c:v>8/23/2021</c:v>
                </c:pt>
                <c:pt idx="712">
                  <c:v>8/30/2021</c:v>
                </c:pt>
                <c:pt idx="713">
                  <c:v>9/6/2021</c:v>
                </c:pt>
                <c:pt idx="714">
                  <c:v>9/13/2021</c:v>
                </c:pt>
                <c:pt idx="715">
                  <c:v>9/20/2021</c:v>
                </c:pt>
                <c:pt idx="716">
                  <c:v>9/27/2021</c:v>
                </c:pt>
                <c:pt idx="717">
                  <c:v>10/4/2021</c:v>
                </c:pt>
                <c:pt idx="718">
                  <c:v>10/11/2021</c:v>
                </c:pt>
                <c:pt idx="719">
                  <c:v>10/18/2021</c:v>
                </c:pt>
                <c:pt idx="720">
                  <c:v>10/25/2021</c:v>
                </c:pt>
                <c:pt idx="721">
                  <c:v>11/1/2021</c:v>
                </c:pt>
                <c:pt idx="722">
                  <c:v>11/8/2021</c:v>
                </c:pt>
                <c:pt idx="723">
                  <c:v>11/15/2021</c:v>
                </c:pt>
                <c:pt idx="724">
                  <c:v>11/22/2021</c:v>
                </c:pt>
                <c:pt idx="725">
                  <c:v>11/29/2021</c:v>
                </c:pt>
                <c:pt idx="726">
                  <c:v>12/6/2021</c:v>
                </c:pt>
                <c:pt idx="727">
                  <c:v>12/13/2021</c:v>
                </c:pt>
                <c:pt idx="728">
                  <c:v>2022</c:v>
                </c:pt>
                <c:pt idx="729">
                  <c:v>2022</c:v>
                </c:pt>
                <c:pt idx="730">
                  <c:v>2022</c:v>
                </c:pt>
                <c:pt idx="731">
                  <c:v>2022</c:v>
                </c:pt>
                <c:pt idx="732">
                  <c:v>1/17/2022</c:v>
                </c:pt>
                <c:pt idx="733">
                  <c:v>1/24/2022</c:v>
                </c:pt>
                <c:pt idx="734">
                  <c:v>1/31/2022</c:v>
                </c:pt>
                <c:pt idx="735">
                  <c:v>2/7/2022</c:v>
                </c:pt>
                <c:pt idx="736">
                  <c:v>2/14/2022</c:v>
                </c:pt>
                <c:pt idx="737">
                  <c:v>2/21/2022</c:v>
                </c:pt>
                <c:pt idx="738">
                  <c:v>2/28/2022</c:v>
                </c:pt>
                <c:pt idx="739">
                  <c:v>3/7/2022</c:v>
                </c:pt>
                <c:pt idx="740">
                  <c:v>3/14/2022</c:v>
                </c:pt>
                <c:pt idx="741">
                  <c:v>3/21/2022</c:v>
                </c:pt>
                <c:pt idx="742">
                  <c:v>3/28/2022</c:v>
                </c:pt>
                <c:pt idx="743">
                  <c:v>4/4/2022</c:v>
                </c:pt>
                <c:pt idx="744">
                  <c:v>4/11/2022</c:v>
                </c:pt>
                <c:pt idx="745">
                  <c:v>4/18/2022</c:v>
                </c:pt>
                <c:pt idx="746">
                  <c:v>4/25/2022</c:v>
                </c:pt>
                <c:pt idx="747">
                  <c:v>5/2/2022</c:v>
                </c:pt>
                <c:pt idx="748">
                  <c:v>5/9/2022</c:v>
                </c:pt>
                <c:pt idx="749">
                  <c:v>5/16/2022</c:v>
                </c:pt>
                <c:pt idx="750">
                  <c:v>5/23/2022</c:v>
                </c:pt>
                <c:pt idx="751">
                  <c:v>5/30/2022</c:v>
                </c:pt>
                <c:pt idx="752">
                  <c:v>6/6/2022</c:v>
                </c:pt>
                <c:pt idx="753">
                  <c:v>6/13/2022</c:v>
                </c:pt>
                <c:pt idx="754">
                  <c:v>6/20/2022</c:v>
                </c:pt>
                <c:pt idx="755">
                  <c:v>6/27/2022</c:v>
                </c:pt>
                <c:pt idx="756">
                  <c:v>7/4/2022</c:v>
                </c:pt>
                <c:pt idx="757">
                  <c:v>7/11/2022</c:v>
                </c:pt>
                <c:pt idx="758">
                  <c:v>7/18/2022</c:v>
                </c:pt>
                <c:pt idx="759">
                  <c:v>7/25/2022</c:v>
                </c:pt>
                <c:pt idx="760">
                  <c:v>8/1/2022</c:v>
                </c:pt>
                <c:pt idx="761">
                  <c:v>8/8/2022</c:v>
                </c:pt>
                <c:pt idx="762">
                  <c:v>8/15/2022</c:v>
                </c:pt>
                <c:pt idx="763">
                  <c:v>8/22/2022</c:v>
                </c:pt>
                <c:pt idx="764">
                  <c:v>8/29/2022</c:v>
                </c:pt>
                <c:pt idx="765">
                  <c:v>9/5/2022</c:v>
                </c:pt>
                <c:pt idx="766">
                  <c:v>9/12/2022</c:v>
                </c:pt>
                <c:pt idx="767">
                  <c:v>9/19/2022</c:v>
                </c:pt>
                <c:pt idx="768">
                  <c:v>9/26/2022</c:v>
                </c:pt>
                <c:pt idx="769">
                  <c:v>10/3/2022</c:v>
                </c:pt>
                <c:pt idx="770">
                  <c:v>10/10/2022</c:v>
                </c:pt>
                <c:pt idx="771">
                  <c:v>10/17/2022</c:v>
                </c:pt>
                <c:pt idx="772">
                  <c:v>10/24/2022</c:v>
                </c:pt>
                <c:pt idx="773">
                  <c:v>10/31/2022</c:v>
                </c:pt>
                <c:pt idx="774">
                  <c:v>11/7/2022</c:v>
                </c:pt>
                <c:pt idx="775">
                  <c:v>11/14/2022</c:v>
                </c:pt>
                <c:pt idx="776">
                  <c:v>11/21/2022</c:v>
                </c:pt>
                <c:pt idx="777">
                  <c:v>11/28/2022</c:v>
                </c:pt>
                <c:pt idx="778">
                  <c:v>12/5/2022</c:v>
                </c:pt>
                <c:pt idx="779">
                  <c:v>12/12/2022</c:v>
                </c:pt>
                <c:pt idx="780">
                  <c:v>2023</c:v>
                </c:pt>
                <c:pt idx="781">
                  <c:v>2023</c:v>
                </c:pt>
                <c:pt idx="782">
                  <c:v>2023</c:v>
                </c:pt>
                <c:pt idx="783">
                  <c:v>2023</c:v>
                </c:pt>
                <c:pt idx="784">
                  <c:v>2023</c:v>
                </c:pt>
                <c:pt idx="785">
                  <c:v>1/23/2023</c:v>
                </c:pt>
                <c:pt idx="786">
                  <c:v>1/30/2023</c:v>
                </c:pt>
                <c:pt idx="787">
                  <c:v>2/6/2023</c:v>
                </c:pt>
                <c:pt idx="788">
                  <c:v>2/13/2023</c:v>
                </c:pt>
                <c:pt idx="789">
                  <c:v>2/20/2023</c:v>
                </c:pt>
                <c:pt idx="790">
                  <c:v>2/27/2023</c:v>
                </c:pt>
                <c:pt idx="791">
                  <c:v>3/6/2023</c:v>
                </c:pt>
                <c:pt idx="792">
                  <c:v>3/13/2023</c:v>
                </c:pt>
                <c:pt idx="793">
                  <c:v>3/20/2023</c:v>
                </c:pt>
                <c:pt idx="794">
                  <c:v>3/27/2023</c:v>
                </c:pt>
                <c:pt idx="795">
                  <c:v>4/3/2023</c:v>
                </c:pt>
                <c:pt idx="796">
                  <c:v>4/10/2023</c:v>
                </c:pt>
                <c:pt idx="797">
                  <c:v>4/17/2023</c:v>
                </c:pt>
                <c:pt idx="798">
                  <c:v>4/24/2023</c:v>
                </c:pt>
                <c:pt idx="799">
                  <c:v>5/1/2023</c:v>
                </c:pt>
                <c:pt idx="800">
                  <c:v>5/8/2023</c:v>
                </c:pt>
                <c:pt idx="801">
                  <c:v>5/15/2023</c:v>
                </c:pt>
                <c:pt idx="802">
                  <c:v>5/22/2023</c:v>
                </c:pt>
                <c:pt idx="803">
                  <c:v>5/29/2023</c:v>
                </c:pt>
                <c:pt idx="804">
                  <c:v>6/5/2023</c:v>
                </c:pt>
                <c:pt idx="805">
                  <c:v>6/12/2023</c:v>
                </c:pt>
                <c:pt idx="806">
                  <c:v>6/19/2023</c:v>
                </c:pt>
                <c:pt idx="807">
                  <c:v>6/26/2023</c:v>
                </c:pt>
                <c:pt idx="808">
                  <c:v>7/3/2023</c:v>
                </c:pt>
                <c:pt idx="809">
                  <c:v>7/10/2023</c:v>
                </c:pt>
                <c:pt idx="810">
                  <c:v>7/17/2023</c:v>
                </c:pt>
                <c:pt idx="811">
                  <c:v>7/24/2023</c:v>
                </c:pt>
                <c:pt idx="812">
                  <c:v>7/31/2023</c:v>
                </c:pt>
                <c:pt idx="813">
                  <c:v>8/7/2023</c:v>
                </c:pt>
                <c:pt idx="814">
                  <c:v>8/14/2023</c:v>
                </c:pt>
                <c:pt idx="815">
                  <c:v>8/21/2023</c:v>
                </c:pt>
                <c:pt idx="816">
                  <c:v>8/28/2023</c:v>
                </c:pt>
                <c:pt idx="817">
                  <c:v>9/4/2023</c:v>
                </c:pt>
                <c:pt idx="818">
                  <c:v>9/11/2023</c:v>
                </c:pt>
                <c:pt idx="819">
                  <c:v>9/18/2023</c:v>
                </c:pt>
                <c:pt idx="820">
                  <c:v>9/25/2023</c:v>
                </c:pt>
                <c:pt idx="821">
                  <c:v>10/2/2023</c:v>
                </c:pt>
                <c:pt idx="822">
                  <c:v>10/9/2023</c:v>
                </c:pt>
                <c:pt idx="823">
                  <c:v>10/16/2023</c:v>
                </c:pt>
                <c:pt idx="824">
                  <c:v>10/23/2023</c:v>
                </c:pt>
                <c:pt idx="825">
                  <c:v>10/30/2023</c:v>
                </c:pt>
              </c:strCache>
            </c:strRef>
          </c:cat>
          <c:val>
            <c:numRef>
              <c:f>'Diesel prices'!$B$2:$B$827</c:f>
              <c:numCache>
                <c:formatCode>General</c:formatCode>
                <c:ptCount val="826"/>
                <c:pt idx="0">
                  <c:v>3.3759999999999999</c:v>
                </c:pt>
                <c:pt idx="1">
                  <c:v>3.3260000000000001</c:v>
                </c:pt>
                <c:pt idx="2">
                  <c:v>3.27</c:v>
                </c:pt>
                <c:pt idx="3">
                  <c:v>3.2589999999999999</c:v>
                </c:pt>
                <c:pt idx="4">
                  <c:v>3.28</c:v>
                </c:pt>
                <c:pt idx="5">
                  <c:v>3.28</c:v>
                </c:pt>
                <c:pt idx="6">
                  <c:v>3.3959999999999999</c:v>
                </c:pt>
                <c:pt idx="7">
                  <c:v>3.552</c:v>
                </c:pt>
                <c:pt idx="8">
                  <c:v>3.6579999999999999</c:v>
                </c:pt>
                <c:pt idx="9">
                  <c:v>3.819</c:v>
                </c:pt>
                <c:pt idx="10">
                  <c:v>3.9740000000000002</c:v>
                </c:pt>
                <c:pt idx="11">
                  <c:v>3.9889999999999999</c:v>
                </c:pt>
                <c:pt idx="12">
                  <c:v>3.964</c:v>
                </c:pt>
                <c:pt idx="13">
                  <c:v>3.9550000000000001</c:v>
                </c:pt>
                <c:pt idx="14">
                  <c:v>4.0590000000000002</c:v>
                </c:pt>
                <c:pt idx="15">
                  <c:v>4.1429999999999998</c:v>
                </c:pt>
                <c:pt idx="16">
                  <c:v>4.1769999999999996</c:v>
                </c:pt>
                <c:pt idx="17">
                  <c:v>4.149</c:v>
                </c:pt>
                <c:pt idx="18">
                  <c:v>4.3310000000000004</c:v>
                </c:pt>
                <c:pt idx="19">
                  <c:v>4.4969999999999999</c:v>
                </c:pt>
                <c:pt idx="20">
                  <c:v>4.7229999999999999</c:v>
                </c:pt>
                <c:pt idx="21">
                  <c:v>4.7069999999999999</c:v>
                </c:pt>
                <c:pt idx="22">
                  <c:v>4.6920000000000002</c:v>
                </c:pt>
                <c:pt idx="23">
                  <c:v>4.6920000000000002</c:v>
                </c:pt>
                <c:pt idx="24">
                  <c:v>4.6479999999999997</c:v>
                </c:pt>
                <c:pt idx="25">
                  <c:v>4.6449999999999996</c:v>
                </c:pt>
                <c:pt idx="26">
                  <c:v>4.7270000000000003</c:v>
                </c:pt>
                <c:pt idx="27">
                  <c:v>4.7640000000000002</c:v>
                </c:pt>
                <c:pt idx="28">
                  <c:v>4.718</c:v>
                </c:pt>
                <c:pt idx="29">
                  <c:v>4.6029999999999998</c:v>
                </c:pt>
                <c:pt idx="30">
                  <c:v>4.5019999999999998</c:v>
                </c:pt>
                <c:pt idx="31">
                  <c:v>4.3529999999999998</c:v>
                </c:pt>
                <c:pt idx="32">
                  <c:v>4.2069999999999999</c:v>
                </c:pt>
                <c:pt idx="33">
                  <c:v>4.1449999999999996</c:v>
                </c:pt>
                <c:pt idx="34">
                  <c:v>4.1210000000000004</c:v>
                </c:pt>
                <c:pt idx="35">
                  <c:v>4.0590000000000002</c:v>
                </c:pt>
                <c:pt idx="36">
                  <c:v>4.0229999999999997</c:v>
                </c:pt>
                <c:pt idx="37">
                  <c:v>3.9580000000000002</c:v>
                </c:pt>
                <c:pt idx="38">
                  <c:v>3.9590000000000001</c:v>
                </c:pt>
                <c:pt idx="39">
                  <c:v>3.875</c:v>
                </c:pt>
                <c:pt idx="40">
                  <c:v>3.6589999999999998</c:v>
                </c:pt>
                <c:pt idx="41">
                  <c:v>3.4820000000000002</c:v>
                </c:pt>
                <c:pt idx="42">
                  <c:v>3.2879999999999998</c:v>
                </c:pt>
                <c:pt idx="43">
                  <c:v>3.0880000000000001</c:v>
                </c:pt>
                <c:pt idx="44">
                  <c:v>2.944</c:v>
                </c:pt>
                <c:pt idx="45">
                  <c:v>2.8090000000000002</c:v>
                </c:pt>
                <c:pt idx="46">
                  <c:v>2.6640000000000001</c:v>
                </c:pt>
                <c:pt idx="47">
                  <c:v>2.6150000000000002</c:v>
                </c:pt>
                <c:pt idx="48">
                  <c:v>2.5150000000000001</c:v>
                </c:pt>
                <c:pt idx="49">
                  <c:v>2.4220000000000002</c:v>
                </c:pt>
                <c:pt idx="50">
                  <c:v>2.3660000000000001</c:v>
                </c:pt>
                <c:pt idx="51">
                  <c:v>2.327</c:v>
                </c:pt>
                <c:pt idx="52">
                  <c:v>2.2909999999999999</c:v>
                </c:pt>
                <c:pt idx="53">
                  <c:v>2.3140000000000001</c:v>
                </c:pt>
                <c:pt idx="54">
                  <c:v>2.2959999999999998</c:v>
                </c:pt>
                <c:pt idx="55">
                  <c:v>2.2679999999999998</c:v>
                </c:pt>
                <c:pt idx="56">
                  <c:v>2.246</c:v>
                </c:pt>
                <c:pt idx="57">
                  <c:v>2.2189999999999999</c:v>
                </c:pt>
                <c:pt idx="58">
                  <c:v>2.1859999999999999</c:v>
                </c:pt>
                <c:pt idx="59">
                  <c:v>2.13</c:v>
                </c:pt>
                <c:pt idx="60">
                  <c:v>2.0870000000000002</c:v>
                </c:pt>
                <c:pt idx="61">
                  <c:v>2.0449999999999999</c:v>
                </c:pt>
                <c:pt idx="62">
                  <c:v>2.0169999999999999</c:v>
                </c:pt>
                <c:pt idx="63">
                  <c:v>2.09</c:v>
                </c:pt>
                <c:pt idx="64">
                  <c:v>2.2210000000000001</c:v>
                </c:pt>
                <c:pt idx="65">
                  <c:v>2.2280000000000002</c:v>
                </c:pt>
                <c:pt idx="66">
                  <c:v>2.2290000000000001</c:v>
                </c:pt>
                <c:pt idx="67">
                  <c:v>2.2210000000000001</c:v>
                </c:pt>
                <c:pt idx="68">
                  <c:v>2.2010000000000001</c:v>
                </c:pt>
                <c:pt idx="69">
                  <c:v>2.1850000000000001</c:v>
                </c:pt>
                <c:pt idx="70">
                  <c:v>2.2160000000000002</c:v>
                </c:pt>
                <c:pt idx="71">
                  <c:v>2.2309999999999999</c:v>
                </c:pt>
                <c:pt idx="72">
                  <c:v>2.274</c:v>
                </c:pt>
                <c:pt idx="73">
                  <c:v>2.3519999999999999</c:v>
                </c:pt>
                <c:pt idx="74">
                  <c:v>2.4980000000000002</c:v>
                </c:pt>
                <c:pt idx="75">
                  <c:v>2.5720000000000001</c:v>
                </c:pt>
                <c:pt idx="76">
                  <c:v>2.6160000000000001</c:v>
                </c:pt>
                <c:pt idx="77">
                  <c:v>2.6080000000000001</c:v>
                </c:pt>
                <c:pt idx="78">
                  <c:v>2.5939999999999999</c:v>
                </c:pt>
                <c:pt idx="79">
                  <c:v>2.5419999999999998</c:v>
                </c:pt>
                <c:pt idx="80">
                  <c:v>2.496</c:v>
                </c:pt>
                <c:pt idx="81">
                  <c:v>2.528</c:v>
                </c:pt>
                <c:pt idx="82">
                  <c:v>2.5499999999999998</c:v>
                </c:pt>
                <c:pt idx="83">
                  <c:v>2.625</c:v>
                </c:pt>
                <c:pt idx="84">
                  <c:v>2.6520000000000001</c:v>
                </c:pt>
                <c:pt idx="85">
                  <c:v>2.6680000000000001</c:v>
                </c:pt>
                <c:pt idx="86">
                  <c:v>2.6739999999999999</c:v>
                </c:pt>
                <c:pt idx="87">
                  <c:v>2.6469999999999998</c:v>
                </c:pt>
                <c:pt idx="88">
                  <c:v>2.6339999999999999</c:v>
                </c:pt>
                <c:pt idx="89">
                  <c:v>2.6219999999999999</c:v>
                </c:pt>
                <c:pt idx="90">
                  <c:v>2.601</c:v>
                </c:pt>
                <c:pt idx="91">
                  <c:v>2.5819999999999999</c:v>
                </c:pt>
                <c:pt idx="92">
                  <c:v>2.6</c:v>
                </c:pt>
                <c:pt idx="93">
                  <c:v>2.7050000000000001</c:v>
                </c:pt>
                <c:pt idx="94">
                  <c:v>2.8010000000000002</c:v>
                </c:pt>
                <c:pt idx="95">
                  <c:v>2.8079999999999998</c:v>
                </c:pt>
                <c:pt idx="96">
                  <c:v>2.8010000000000002</c:v>
                </c:pt>
                <c:pt idx="97">
                  <c:v>2.79</c:v>
                </c:pt>
                <c:pt idx="98">
                  <c:v>2.7869999999999999</c:v>
                </c:pt>
                <c:pt idx="99">
                  <c:v>2.7749999999999999</c:v>
                </c:pt>
                <c:pt idx="100">
                  <c:v>2.7719999999999998</c:v>
                </c:pt>
                <c:pt idx="101">
                  <c:v>2.7480000000000002</c:v>
                </c:pt>
                <c:pt idx="102">
                  <c:v>2.726</c:v>
                </c:pt>
                <c:pt idx="103">
                  <c:v>2.7320000000000002</c:v>
                </c:pt>
                <c:pt idx="104">
                  <c:v>2.7970000000000002</c:v>
                </c:pt>
                <c:pt idx="105">
                  <c:v>2.879</c:v>
                </c:pt>
                <c:pt idx="106">
                  <c:v>2.87</c:v>
                </c:pt>
                <c:pt idx="107">
                  <c:v>2.8330000000000002</c:v>
                </c:pt>
                <c:pt idx="108">
                  <c:v>2.7810000000000001</c:v>
                </c:pt>
                <c:pt idx="109">
                  <c:v>2.7690000000000001</c:v>
                </c:pt>
                <c:pt idx="110">
                  <c:v>2.7559999999999998</c:v>
                </c:pt>
                <c:pt idx="111">
                  <c:v>2.8319999999999999</c:v>
                </c:pt>
                <c:pt idx="112">
                  <c:v>2.8610000000000002</c:v>
                </c:pt>
                <c:pt idx="113">
                  <c:v>2.9039999999999999</c:v>
                </c:pt>
                <c:pt idx="114">
                  <c:v>2.9239999999999999</c:v>
                </c:pt>
                <c:pt idx="115">
                  <c:v>2.9460000000000002</c:v>
                </c:pt>
                <c:pt idx="116">
                  <c:v>2.9390000000000001</c:v>
                </c:pt>
                <c:pt idx="117">
                  <c:v>3.0150000000000001</c:v>
                </c:pt>
                <c:pt idx="118">
                  <c:v>3.069</c:v>
                </c:pt>
                <c:pt idx="119">
                  <c:v>3.0739999999999998</c:v>
                </c:pt>
                <c:pt idx="120">
                  <c:v>3.0779999999999998</c:v>
                </c:pt>
                <c:pt idx="121">
                  <c:v>3.1219999999999999</c:v>
                </c:pt>
                <c:pt idx="122">
                  <c:v>3.1269999999999998</c:v>
                </c:pt>
                <c:pt idx="123">
                  <c:v>3.0939999999999999</c:v>
                </c:pt>
                <c:pt idx="124">
                  <c:v>3.0209999999999999</c:v>
                </c:pt>
                <c:pt idx="125">
                  <c:v>2.98</c:v>
                </c:pt>
                <c:pt idx="126">
                  <c:v>2.9460000000000002</c:v>
                </c:pt>
                <c:pt idx="127">
                  <c:v>2.9279999999999999</c:v>
                </c:pt>
                <c:pt idx="128">
                  <c:v>2.9609999999999999</c:v>
                </c:pt>
                <c:pt idx="129">
                  <c:v>2.956</c:v>
                </c:pt>
                <c:pt idx="130">
                  <c:v>2.9239999999999999</c:v>
                </c:pt>
                <c:pt idx="131">
                  <c:v>2.903</c:v>
                </c:pt>
                <c:pt idx="132">
                  <c:v>2.899</c:v>
                </c:pt>
                <c:pt idx="133">
                  <c:v>2.919</c:v>
                </c:pt>
                <c:pt idx="134">
                  <c:v>2.9279999999999999</c:v>
                </c:pt>
                <c:pt idx="135">
                  <c:v>2.9910000000000001</c:v>
                </c:pt>
                <c:pt idx="136">
                  <c:v>2.9790000000000001</c:v>
                </c:pt>
                <c:pt idx="137">
                  <c:v>2.9569999999999999</c:v>
                </c:pt>
                <c:pt idx="138">
                  <c:v>2.9380000000000002</c:v>
                </c:pt>
                <c:pt idx="139">
                  <c:v>2.931</c:v>
                </c:pt>
                <c:pt idx="140">
                  <c:v>2.9430000000000001</c:v>
                </c:pt>
                <c:pt idx="141">
                  <c:v>2.96</c:v>
                </c:pt>
                <c:pt idx="142">
                  <c:v>2.9510000000000001</c:v>
                </c:pt>
                <c:pt idx="143">
                  <c:v>3</c:v>
                </c:pt>
                <c:pt idx="144">
                  <c:v>3.0659999999999998</c:v>
                </c:pt>
                <c:pt idx="145">
                  <c:v>3.073</c:v>
                </c:pt>
                <c:pt idx="146">
                  <c:v>3.0670000000000002</c:v>
                </c:pt>
                <c:pt idx="147">
                  <c:v>3.0670000000000002</c:v>
                </c:pt>
                <c:pt idx="148">
                  <c:v>3.1160000000000001</c:v>
                </c:pt>
                <c:pt idx="149">
                  <c:v>3.1840000000000002</c:v>
                </c:pt>
                <c:pt idx="150">
                  <c:v>3.1709999999999998</c:v>
                </c:pt>
                <c:pt idx="151">
                  <c:v>3.1619999999999999</c:v>
                </c:pt>
                <c:pt idx="152">
                  <c:v>3.1970000000000001</c:v>
                </c:pt>
                <c:pt idx="153">
                  <c:v>3.2309999999999999</c:v>
                </c:pt>
                <c:pt idx="154">
                  <c:v>3.2480000000000002</c:v>
                </c:pt>
                <c:pt idx="155">
                  <c:v>3.294</c:v>
                </c:pt>
                <c:pt idx="156">
                  <c:v>3.331</c:v>
                </c:pt>
                <c:pt idx="157">
                  <c:v>3.3330000000000002</c:v>
                </c:pt>
                <c:pt idx="158">
                  <c:v>3.407</c:v>
                </c:pt>
                <c:pt idx="159">
                  <c:v>3.43</c:v>
                </c:pt>
                <c:pt idx="160">
                  <c:v>3.4380000000000002</c:v>
                </c:pt>
                <c:pt idx="161">
                  <c:v>3.5129999999999999</c:v>
                </c:pt>
                <c:pt idx="162">
                  <c:v>3.5339999999999998</c:v>
                </c:pt>
                <c:pt idx="163">
                  <c:v>3.573</c:v>
                </c:pt>
                <c:pt idx="164">
                  <c:v>3.7160000000000002</c:v>
                </c:pt>
                <c:pt idx="165">
                  <c:v>3.871</c:v>
                </c:pt>
                <c:pt idx="166">
                  <c:v>3.9079999999999999</c:v>
                </c:pt>
                <c:pt idx="167">
                  <c:v>3.907</c:v>
                </c:pt>
                <c:pt idx="168">
                  <c:v>3.9319999999999999</c:v>
                </c:pt>
                <c:pt idx="169">
                  <c:v>3.976</c:v>
                </c:pt>
                <c:pt idx="170">
                  <c:v>4.0780000000000003</c:v>
                </c:pt>
                <c:pt idx="171">
                  <c:v>4.1050000000000004</c:v>
                </c:pt>
                <c:pt idx="172">
                  <c:v>4.0979999999999999</c:v>
                </c:pt>
                <c:pt idx="173">
                  <c:v>4.1239999999999997</c:v>
                </c:pt>
                <c:pt idx="174">
                  <c:v>4.1040000000000001</c:v>
                </c:pt>
                <c:pt idx="175">
                  <c:v>4.0609999999999999</c:v>
                </c:pt>
                <c:pt idx="176">
                  <c:v>3.9969999999999999</c:v>
                </c:pt>
                <c:pt idx="177">
                  <c:v>3.948</c:v>
                </c:pt>
                <c:pt idx="178">
                  <c:v>3.94</c:v>
                </c:pt>
                <c:pt idx="179">
                  <c:v>3.9540000000000002</c:v>
                </c:pt>
                <c:pt idx="180">
                  <c:v>3.95</c:v>
                </c:pt>
                <c:pt idx="181">
                  <c:v>3.8879999999999999</c:v>
                </c:pt>
                <c:pt idx="182">
                  <c:v>3.85</c:v>
                </c:pt>
                <c:pt idx="183">
                  <c:v>3.899</c:v>
                </c:pt>
                <c:pt idx="184">
                  <c:v>3.923</c:v>
                </c:pt>
                <c:pt idx="185">
                  <c:v>3.9489999999999998</c:v>
                </c:pt>
                <c:pt idx="186">
                  <c:v>3.9369999999999998</c:v>
                </c:pt>
                <c:pt idx="187">
                  <c:v>3.8969999999999998</c:v>
                </c:pt>
                <c:pt idx="188">
                  <c:v>3.835</c:v>
                </c:pt>
                <c:pt idx="189">
                  <c:v>3.81</c:v>
                </c:pt>
                <c:pt idx="190">
                  <c:v>3.82</c:v>
                </c:pt>
                <c:pt idx="191">
                  <c:v>3.8679999999999999</c:v>
                </c:pt>
                <c:pt idx="192">
                  <c:v>3.8620000000000001</c:v>
                </c:pt>
                <c:pt idx="193">
                  <c:v>3.8330000000000002</c:v>
                </c:pt>
                <c:pt idx="194">
                  <c:v>3.786</c:v>
                </c:pt>
                <c:pt idx="195">
                  <c:v>3.7490000000000001</c:v>
                </c:pt>
                <c:pt idx="196">
                  <c:v>3.7210000000000001</c:v>
                </c:pt>
                <c:pt idx="197">
                  <c:v>3.8010000000000002</c:v>
                </c:pt>
                <c:pt idx="198">
                  <c:v>3.8250000000000002</c:v>
                </c:pt>
                <c:pt idx="199">
                  <c:v>3.8919999999999999</c:v>
                </c:pt>
                <c:pt idx="200">
                  <c:v>3.887</c:v>
                </c:pt>
                <c:pt idx="201">
                  <c:v>3.9870000000000001</c:v>
                </c:pt>
                <c:pt idx="202">
                  <c:v>4.01</c:v>
                </c:pt>
                <c:pt idx="203">
                  <c:v>3.964</c:v>
                </c:pt>
                <c:pt idx="204">
                  <c:v>3.931</c:v>
                </c:pt>
                <c:pt idx="205">
                  <c:v>3.8940000000000001</c:v>
                </c:pt>
                <c:pt idx="206">
                  <c:v>3.8279999999999998</c:v>
                </c:pt>
                <c:pt idx="207">
                  <c:v>3.7909999999999999</c:v>
                </c:pt>
                <c:pt idx="208">
                  <c:v>3.7829999999999999</c:v>
                </c:pt>
                <c:pt idx="209">
                  <c:v>3.8279999999999998</c:v>
                </c:pt>
                <c:pt idx="210">
                  <c:v>3.8540000000000001</c:v>
                </c:pt>
                <c:pt idx="211">
                  <c:v>3.8479999999999999</c:v>
                </c:pt>
                <c:pt idx="212">
                  <c:v>3.85</c:v>
                </c:pt>
                <c:pt idx="213">
                  <c:v>3.8559999999999999</c:v>
                </c:pt>
                <c:pt idx="214">
                  <c:v>3.9430000000000001</c:v>
                </c:pt>
                <c:pt idx="215">
                  <c:v>3.96</c:v>
                </c:pt>
                <c:pt idx="216">
                  <c:v>4.0510000000000002</c:v>
                </c:pt>
                <c:pt idx="217">
                  <c:v>4.0940000000000003</c:v>
                </c:pt>
                <c:pt idx="218">
                  <c:v>4.1230000000000002</c:v>
                </c:pt>
                <c:pt idx="219">
                  <c:v>4.1420000000000003</c:v>
                </c:pt>
                <c:pt idx="220">
                  <c:v>4.1470000000000002</c:v>
                </c:pt>
                <c:pt idx="221">
                  <c:v>4.1420000000000003</c:v>
                </c:pt>
                <c:pt idx="222">
                  <c:v>4.1479999999999997</c:v>
                </c:pt>
                <c:pt idx="223">
                  <c:v>4.1269999999999998</c:v>
                </c:pt>
                <c:pt idx="224">
                  <c:v>4.085</c:v>
                </c:pt>
                <c:pt idx="225">
                  <c:v>4.0730000000000004</c:v>
                </c:pt>
                <c:pt idx="226">
                  <c:v>4.0570000000000004</c:v>
                </c:pt>
                <c:pt idx="227">
                  <c:v>4.0039999999999996</c:v>
                </c:pt>
                <c:pt idx="228">
                  <c:v>3.956</c:v>
                </c:pt>
                <c:pt idx="229">
                  <c:v>3.8969999999999998</c:v>
                </c:pt>
                <c:pt idx="230">
                  <c:v>3.8460000000000001</c:v>
                </c:pt>
                <c:pt idx="231">
                  <c:v>3.7810000000000001</c:v>
                </c:pt>
                <c:pt idx="232">
                  <c:v>3.7290000000000001</c:v>
                </c:pt>
                <c:pt idx="233">
                  <c:v>3.6779999999999999</c:v>
                </c:pt>
                <c:pt idx="234">
                  <c:v>3.6480000000000001</c:v>
                </c:pt>
                <c:pt idx="235">
                  <c:v>3.6829999999999998</c:v>
                </c:pt>
                <c:pt idx="236">
                  <c:v>3.6949999999999998</c:v>
                </c:pt>
                <c:pt idx="237">
                  <c:v>3.7829999999999999</c:v>
                </c:pt>
                <c:pt idx="238">
                  <c:v>3.7959999999999998</c:v>
                </c:pt>
                <c:pt idx="239">
                  <c:v>3.85</c:v>
                </c:pt>
                <c:pt idx="240">
                  <c:v>3.9649999999999999</c:v>
                </c:pt>
                <c:pt idx="241">
                  <c:v>4.0259999999999998</c:v>
                </c:pt>
                <c:pt idx="242">
                  <c:v>4.0890000000000004</c:v>
                </c:pt>
                <c:pt idx="243">
                  <c:v>4.1269999999999998</c:v>
                </c:pt>
                <c:pt idx="244">
                  <c:v>4.1319999999999997</c:v>
                </c:pt>
                <c:pt idx="245">
                  <c:v>4.1349999999999998</c:v>
                </c:pt>
                <c:pt idx="246">
                  <c:v>4.0860000000000003</c:v>
                </c:pt>
                <c:pt idx="247">
                  <c:v>4.0789999999999997</c:v>
                </c:pt>
                <c:pt idx="248">
                  <c:v>4.0940000000000003</c:v>
                </c:pt>
                <c:pt idx="249">
                  <c:v>4.1500000000000004</c:v>
                </c:pt>
                <c:pt idx="250">
                  <c:v>4.1159999999999997</c:v>
                </c:pt>
                <c:pt idx="251">
                  <c:v>4.03</c:v>
                </c:pt>
                <c:pt idx="252">
                  <c:v>4.01</c:v>
                </c:pt>
                <c:pt idx="253">
                  <c:v>3.98</c:v>
                </c:pt>
                <c:pt idx="254">
                  <c:v>3.976</c:v>
                </c:pt>
                <c:pt idx="255">
                  <c:v>4.0339999999999998</c:v>
                </c:pt>
                <c:pt idx="256">
                  <c:v>4.0270000000000001</c:v>
                </c:pt>
                <c:pt idx="257">
                  <c:v>3.9910000000000001</c:v>
                </c:pt>
                <c:pt idx="258">
                  <c:v>3.9449999999999998</c:v>
                </c:pt>
                <c:pt idx="259">
                  <c:v>3.923</c:v>
                </c:pt>
                <c:pt idx="260">
                  <c:v>3.9180000000000001</c:v>
                </c:pt>
                <c:pt idx="261">
                  <c:v>3.911</c:v>
                </c:pt>
                <c:pt idx="262">
                  <c:v>3.8940000000000001</c:v>
                </c:pt>
                <c:pt idx="263">
                  <c:v>3.9020000000000001</c:v>
                </c:pt>
                <c:pt idx="264">
                  <c:v>3.927</c:v>
                </c:pt>
                <c:pt idx="265">
                  <c:v>4.0220000000000002</c:v>
                </c:pt>
                <c:pt idx="266">
                  <c:v>4.1040000000000001</c:v>
                </c:pt>
                <c:pt idx="267">
                  <c:v>4.157</c:v>
                </c:pt>
                <c:pt idx="268">
                  <c:v>4.1589999999999998</c:v>
                </c:pt>
                <c:pt idx="269">
                  <c:v>4.13</c:v>
                </c:pt>
                <c:pt idx="270">
                  <c:v>4.0880000000000001</c:v>
                </c:pt>
                <c:pt idx="271">
                  <c:v>4.0469999999999997</c:v>
                </c:pt>
                <c:pt idx="272">
                  <c:v>4.0060000000000002</c:v>
                </c:pt>
                <c:pt idx="273">
                  <c:v>3.9929999999999999</c:v>
                </c:pt>
                <c:pt idx="274">
                  <c:v>3.9769999999999999</c:v>
                </c:pt>
                <c:pt idx="275">
                  <c:v>3.9420000000000002</c:v>
                </c:pt>
                <c:pt idx="276">
                  <c:v>3.887</c:v>
                </c:pt>
                <c:pt idx="277">
                  <c:v>3.851</c:v>
                </c:pt>
                <c:pt idx="278">
                  <c:v>3.8450000000000002</c:v>
                </c:pt>
                <c:pt idx="279">
                  <c:v>3.8660000000000001</c:v>
                </c:pt>
                <c:pt idx="280">
                  <c:v>3.89</c:v>
                </c:pt>
                <c:pt idx="281">
                  <c:v>3.88</c:v>
                </c:pt>
                <c:pt idx="282">
                  <c:v>3.8690000000000002</c:v>
                </c:pt>
                <c:pt idx="283">
                  <c:v>3.8490000000000002</c:v>
                </c:pt>
                <c:pt idx="284">
                  <c:v>3.8410000000000002</c:v>
                </c:pt>
                <c:pt idx="285">
                  <c:v>3.8380000000000001</c:v>
                </c:pt>
                <c:pt idx="286">
                  <c:v>3.8170000000000002</c:v>
                </c:pt>
                <c:pt idx="287">
                  <c:v>3.8279999999999998</c:v>
                </c:pt>
                <c:pt idx="288">
                  <c:v>3.867</c:v>
                </c:pt>
                <c:pt idx="289">
                  <c:v>3.903</c:v>
                </c:pt>
                <c:pt idx="290">
                  <c:v>3.915</c:v>
                </c:pt>
                <c:pt idx="291">
                  <c:v>3.9089999999999998</c:v>
                </c:pt>
                <c:pt idx="292">
                  <c:v>3.8959999999999999</c:v>
                </c:pt>
                <c:pt idx="293">
                  <c:v>3.9</c:v>
                </c:pt>
                <c:pt idx="294">
                  <c:v>3.9129999999999998</c:v>
                </c:pt>
                <c:pt idx="295">
                  <c:v>3.9809999999999999</c:v>
                </c:pt>
                <c:pt idx="296">
                  <c:v>3.9809999999999999</c:v>
                </c:pt>
                <c:pt idx="297">
                  <c:v>3.9740000000000002</c:v>
                </c:pt>
                <c:pt idx="298">
                  <c:v>3.9489999999999998</c:v>
                </c:pt>
                <c:pt idx="299">
                  <c:v>3.919</c:v>
                </c:pt>
                <c:pt idx="300">
                  <c:v>3.8969999999999998</c:v>
                </c:pt>
                <c:pt idx="301">
                  <c:v>3.8860000000000001</c:v>
                </c:pt>
                <c:pt idx="302">
                  <c:v>3.8860000000000001</c:v>
                </c:pt>
                <c:pt idx="303">
                  <c:v>3.87</c:v>
                </c:pt>
                <c:pt idx="304">
                  <c:v>3.8570000000000002</c:v>
                </c:pt>
                <c:pt idx="305">
                  <c:v>3.8319999999999999</c:v>
                </c:pt>
                <c:pt idx="306">
                  <c:v>3.8220000000000001</c:v>
                </c:pt>
                <c:pt idx="307">
                  <c:v>3.8439999999999999</c:v>
                </c:pt>
                <c:pt idx="308">
                  <c:v>3.883</c:v>
                </c:pt>
                <c:pt idx="309">
                  <c:v>3.879</c:v>
                </c:pt>
                <c:pt idx="310">
                  <c:v>3.871</c:v>
                </c:pt>
                <c:pt idx="311">
                  <c:v>3.8730000000000002</c:v>
                </c:pt>
                <c:pt idx="312">
                  <c:v>3.903</c:v>
                </c:pt>
                <c:pt idx="313">
                  <c:v>3.91</c:v>
                </c:pt>
                <c:pt idx="314">
                  <c:v>3.8860000000000001</c:v>
                </c:pt>
                <c:pt idx="315">
                  <c:v>3.8730000000000002</c:v>
                </c:pt>
                <c:pt idx="316">
                  <c:v>3.9039999999999999</c:v>
                </c:pt>
                <c:pt idx="317">
                  <c:v>3.9510000000000001</c:v>
                </c:pt>
                <c:pt idx="318">
                  <c:v>3.9769999999999999</c:v>
                </c:pt>
                <c:pt idx="319">
                  <c:v>3.9889999999999999</c:v>
                </c:pt>
                <c:pt idx="320">
                  <c:v>4.0170000000000003</c:v>
                </c:pt>
                <c:pt idx="321">
                  <c:v>4.016</c:v>
                </c:pt>
                <c:pt idx="322">
                  <c:v>4.0209999999999999</c:v>
                </c:pt>
                <c:pt idx="323">
                  <c:v>4.0030000000000001</c:v>
                </c:pt>
                <c:pt idx="324">
                  <c:v>3.988</c:v>
                </c:pt>
                <c:pt idx="325">
                  <c:v>3.9750000000000001</c:v>
                </c:pt>
                <c:pt idx="326">
                  <c:v>3.9590000000000001</c:v>
                </c:pt>
                <c:pt idx="327">
                  <c:v>3.952</c:v>
                </c:pt>
                <c:pt idx="328">
                  <c:v>3.9710000000000001</c:v>
                </c:pt>
                <c:pt idx="329">
                  <c:v>3.9750000000000001</c:v>
                </c:pt>
                <c:pt idx="330">
                  <c:v>3.964</c:v>
                </c:pt>
                <c:pt idx="331">
                  <c:v>3.948</c:v>
                </c:pt>
                <c:pt idx="332">
                  <c:v>3.9340000000000002</c:v>
                </c:pt>
                <c:pt idx="333">
                  <c:v>3.9249999999999998</c:v>
                </c:pt>
                <c:pt idx="334">
                  <c:v>3.9180000000000001</c:v>
                </c:pt>
                <c:pt idx="335">
                  <c:v>3.8919999999999999</c:v>
                </c:pt>
                <c:pt idx="336">
                  <c:v>3.8820000000000001</c:v>
                </c:pt>
                <c:pt idx="337">
                  <c:v>3.919</c:v>
                </c:pt>
                <c:pt idx="338">
                  <c:v>3.92</c:v>
                </c:pt>
                <c:pt idx="339">
                  <c:v>3.9129999999999998</c:v>
                </c:pt>
                <c:pt idx="340">
                  <c:v>3.8940000000000001</c:v>
                </c:pt>
                <c:pt idx="341">
                  <c:v>3.8690000000000002</c:v>
                </c:pt>
                <c:pt idx="342">
                  <c:v>3.8580000000000001</c:v>
                </c:pt>
                <c:pt idx="343">
                  <c:v>3.8530000000000002</c:v>
                </c:pt>
                <c:pt idx="344">
                  <c:v>3.843</c:v>
                </c:pt>
                <c:pt idx="345">
                  <c:v>3.835</c:v>
                </c:pt>
                <c:pt idx="346">
                  <c:v>3.8210000000000002</c:v>
                </c:pt>
                <c:pt idx="347">
                  <c:v>3.8140000000000001</c:v>
                </c:pt>
                <c:pt idx="348">
                  <c:v>3.8140000000000001</c:v>
                </c:pt>
                <c:pt idx="349">
                  <c:v>3.8010000000000002</c:v>
                </c:pt>
                <c:pt idx="350">
                  <c:v>3.778</c:v>
                </c:pt>
                <c:pt idx="351">
                  <c:v>3.7549999999999999</c:v>
                </c:pt>
                <c:pt idx="352">
                  <c:v>3.7330000000000001</c:v>
                </c:pt>
                <c:pt idx="353">
                  <c:v>3.698</c:v>
                </c:pt>
                <c:pt idx="354">
                  <c:v>3.6560000000000001</c:v>
                </c:pt>
                <c:pt idx="355">
                  <c:v>3.6349999999999998</c:v>
                </c:pt>
                <c:pt idx="356">
                  <c:v>3.6230000000000002</c:v>
                </c:pt>
                <c:pt idx="357">
                  <c:v>3.677</c:v>
                </c:pt>
                <c:pt idx="358">
                  <c:v>3.661</c:v>
                </c:pt>
                <c:pt idx="359">
                  <c:v>3.6280000000000001</c:v>
                </c:pt>
                <c:pt idx="360">
                  <c:v>3.605</c:v>
                </c:pt>
                <c:pt idx="361">
                  <c:v>3.5350000000000001</c:v>
                </c:pt>
                <c:pt idx="362">
                  <c:v>3.419</c:v>
                </c:pt>
                <c:pt idx="363">
                  <c:v>3.2810000000000001</c:v>
                </c:pt>
                <c:pt idx="364">
                  <c:v>3.2130000000000001</c:v>
                </c:pt>
                <c:pt idx="365">
                  <c:v>3.137</c:v>
                </c:pt>
                <c:pt idx="366">
                  <c:v>3.0529999999999999</c:v>
                </c:pt>
                <c:pt idx="367">
                  <c:v>2.9329999999999998</c:v>
                </c:pt>
                <c:pt idx="368">
                  <c:v>2.8660000000000001</c:v>
                </c:pt>
                <c:pt idx="369">
                  <c:v>2.831</c:v>
                </c:pt>
                <c:pt idx="370">
                  <c:v>2.835</c:v>
                </c:pt>
                <c:pt idx="371">
                  <c:v>2.8650000000000002</c:v>
                </c:pt>
                <c:pt idx="372">
                  <c:v>2.9</c:v>
                </c:pt>
                <c:pt idx="373">
                  <c:v>2.9359999999999999</c:v>
                </c:pt>
                <c:pt idx="374">
                  <c:v>2.944</c:v>
                </c:pt>
                <c:pt idx="375">
                  <c:v>2.9169999999999998</c:v>
                </c:pt>
                <c:pt idx="376">
                  <c:v>2.8639999999999999</c:v>
                </c:pt>
                <c:pt idx="377">
                  <c:v>2.8239999999999998</c:v>
                </c:pt>
                <c:pt idx="378">
                  <c:v>2.7839999999999998</c:v>
                </c:pt>
                <c:pt idx="379">
                  <c:v>2.754</c:v>
                </c:pt>
                <c:pt idx="380">
                  <c:v>2.78</c:v>
                </c:pt>
                <c:pt idx="381">
                  <c:v>2.8109999999999999</c:v>
                </c:pt>
                <c:pt idx="382">
                  <c:v>2.8540000000000001</c:v>
                </c:pt>
                <c:pt idx="383">
                  <c:v>2.8780000000000001</c:v>
                </c:pt>
                <c:pt idx="384">
                  <c:v>2.9039999999999999</c:v>
                </c:pt>
                <c:pt idx="385">
                  <c:v>2.9140000000000001</c:v>
                </c:pt>
                <c:pt idx="386">
                  <c:v>2.9089999999999998</c:v>
                </c:pt>
                <c:pt idx="387">
                  <c:v>2.8839999999999999</c:v>
                </c:pt>
                <c:pt idx="388">
                  <c:v>2.87</c:v>
                </c:pt>
                <c:pt idx="389">
                  <c:v>2.859</c:v>
                </c:pt>
                <c:pt idx="390">
                  <c:v>2.843</c:v>
                </c:pt>
                <c:pt idx="391">
                  <c:v>2.8319999999999999</c:v>
                </c:pt>
                <c:pt idx="392">
                  <c:v>2.8140000000000001</c:v>
                </c:pt>
                <c:pt idx="393">
                  <c:v>2.782</c:v>
                </c:pt>
                <c:pt idx="394">
                  <c:v>2.7229999999999999</c:v>
                </c:pt>
                <c:pt idx="395">
                  <c:v>2.6680000000000001</c:v>
                </c:pt>
                <c:pt idx="396">
                  <c:v>2.617</c:v>
                </c:pt>
                <c:pt idx="397">
                  <c:v>2.6150000000000002</c:v>
                </c:pt>
                <c:pt idx="398">
                  <c:v>2.5609999999999999</c:v>
                </c:pt>
                <c:pt idx="399">
                  <c:v>2.5139999999999998</c:v>
                </c:pt>
                <c:pt idx="400">
                  <c:v>2.5339999999999998</c:v>
                </c:pt>
                <c:pt idx="401">
                  <c:v>2.5169999999999999</c:v>
                </c:pt>
                <c:pt idx="402">
                  <c:v>2.4929999999999999</c:v>
                </c:pt>
                <c:pt idx="403">
                  <c:v>2.476</c:v>
                </c:pt>
                <c:pt idx="404">
                  <c:v>2.492</c:v>
                </c:pt>
                <c:pt idx="405">
                  <c:v>2.556</c:v>
                </c:pt>
                <c:pt idx="406">
                  <c:v>2.5310000000000001</c:v>
                </c:pt>
                <c:pt idx="407">
                  <c:v>2.4980000000000002</c:v>
                </c:pt>
                <c:pt idx="408">
                  <c:v>2.4849999999999999</c:v>
                </c:pt>
                <c:pt idx="409">
                  <c:v>2.5019999999999998</c:v>
                </c:pt>
                <c:pt idx="410">
                  <c:v>2.4820000000000002</c:v>
                </c:pt>
                <c:pt idx="411">
                  <c:v>2.4449999999999998</c:v>
                </c:pt>
                <c:pt idx="412">
                  <c:v>2.4209999999999998</c:v>
                </c:pt>
                <c:pt idx="413">
                  <c:v>2.379</c:v>
                </c:pt>
                <c:pt idx="414">
                  <c:v>2.3380000000000001</c:v>
                </c:pt>
                <c:pt idx="415">
                  <c:v>2.2839999999999998</c:v>
                </c:pt>
                <c:pt idx="416">
                  <c:v>2.2370000000000001</c:v>
                </c:pt>
                <c:pt idx="417">
                  <c:v>2.2109999999999999</c:v>
                </c:pt>
                <c:pt idx="418">
                  <c:v>2.177</c:v>
                </c:pt>
                <c:pt idx="419">
                  <c:v>2.1120000000000001</c:v>
                </c:pt>
                <c:pt idx="420">
                  <c:v>2.0710000000000002</c:v>
                </c:pt>
                <c:pt idx="421">
                  <c:v>2.0310000000000001</c:v>
                </c:pt>
                <c:pt idx="422">
                  <c:v>2.008</c:v>
                </c:pt>
                <c:pt idx="423">
                  <c:v>1.98</c:v>
                </c:pt>
                <c:pt idx="424">
                  <c:v>1.9830000000000001</c:v>
                </c:pt>
                <c:pt idx="425">
                  <c:v>1.9890000000000001</c:v>
                </c:pt>
                <c:pt idx="426">
                  <c:v>2.0209999999999999</c:v>
                </c:pt>
                <c:pt idx="427">
                  <c:v>2.0990000000000002</c:v>
                </c:pt>
                <c:pt idx="428">
                  <c:v>2.1190000000000002</c:v>
                </c:pt>
                <c:pt idx="429">
                  <c:v>2.121</c:v>
                </c:pt>
                <c:pt idx="430">
                  <c:v>2.1150000000000002</c:v>
                </c:pt>
                <c:pt idx="431">
                  <c:v>2.1280000000000001</c:v>
                </c:pt>
                <c:pt idx="432">
                  <c:v>2.165</c:v>
                </c:pt>
                <c:pt idx="433">
                  <c:v>2.198</c:v>
                </c:pt>
                <c:pt idx="434">
                  <c:v>2.266</c:v>
                </c:pt>
                <c:pt idx="435">
                  <c:v>2.2709999999999999</c:v>
                </c:pt>
                <c:pt idx="436">
                  <c:v>2.2970000000000002</c:v>
                </c:pt>
                <c:pt idx="437">
                  <c:v>2.3570000000000002</c:v>
                </c:pt>
                <c:pt idx="438">
                  <c:v>2.3820000000000001</c:v>
                </c:pt>
                <c:pt idx="439">
                  <c:v>2.407</c:v>
                </c:pt>
                <c:pt idx="440">
                  <c:v>2.431</c:v>
                </c:pt>
                <c:pt idx="441">
                  <c:v>2.4260000000000002</c:v>
                </c:pt>
                <c:pt idx="442">
                  <c:v>2.4260000000000002</c:v>
                </c:pt>
                <c:pt idx="443">
                  <c:v>2.423</c:v>
                </c:pt>
                <c:pt idx="444">
                  <c:v>2.4140000000000001</c:v>
                </c:pt>
                <c:pt idx="445">
                  <c:v>2.4020000000000001</c:v>
                </c:pt>
                <c:pt idx="446">
                  <c:v>2.379</c:v>
                </c:pt>
                <c:pt idx="447">
                  <c:v>2.3479999999999999</c:v>
                </c:pt>
                <c:pt idx="448">
                  <c:v>2.3159999999999998</c:v>
                </c:pt>
                <c:pt idx="449">
                  <c:v>2.31</c:v>
                </c:pt>
                <c:pt idx="450">
                  <c:v>2.37</c:v>
                </c:pt>
                <c:pt idx="451">
                  <c:v>2.4089999999999998</c:v>
                </c:pt>
                <c:pt idx="452">
                  <c:v>2.407</c:v>
                </c:pt>
                <c:pt idx="453">
                  <c:v>2.399</c:v>
                </c:pt>
                <c:pt idx="454">
                  <c:v>2.3889999999999998</c:v>
                </c:pt>
                <c:pt idx="455">
                  <c:v>2.3820000000000001</c:v>
                </c:pt>
                <c:pt idx="456">
                  <c:v>2.3889999999999998</c:v>
                </c:pt>
                <c:pt idx="457">
                  <c:v>2.4449999999999998</c:v>
                </c:pt>
                <c:pt idx="458">
                  <c:v>2.4809999999999999</c:v>
                </c:pt>
                <c:pt idx="459">
                  <c:v>2.4780000000000002</c:v>
                </c:pt>
                <c:pt idx="460">
                  <c:v>2.4790000000000001</c:v>
                </c:pt>
                <c:pt idx="461">
                  <c:v>2.4700000000000002</c:v>
                </c:pt>
                <c:pt idx="462">
                  <c:v>2.4430000000000001</c:v>
                </c:pt>
                <c:pt idx="463">
                  <c:v>2.4209999999999998</c:v>
                </c:pt>
                <c:pt idx="464">
                  <c:v>2.42</c:v>
                </c:pt>
                <c:pt idx="465">
                  <c:v>2.48</c:v>
                </c:pt>
                <c:pt idx="466">
                  <c:v>2.4929999999999999</c:v>
                </c:pt>
                <c:pt idx="467">
                  <c:v>2.5270000000000001</c:v>
                </c:pt>
                <c:pt idx="468">
                  <c:v>2.54</c:v>
                </c:pt>
                <c:pt idx="469">
                  <c:v>2.5859999999999999</c:v>
                </c:pt>
                <c:pt idx="470">
                  <c:v>2.597</c:v>
                </c:pt>
                <c:pt idx="471">
                  <c:v>2.585</c:v>
                </c:pt>
                <c:pt idx="472">
                  <c:v>2.569</c:v>
                </c:pt>
                <c:pt idx="473">
                  <c:v>2.5619999999999998</c:v>
                </c:pt>
                <c:pt idx="474">
                  <c:v>2.5579999999999998</c:v>
                </c:pt>
                <c:pt idx="475">
                  <c:v>2.5649999999999999</c:v>
                </c:pt>
                <c:pt idx="476">
                  <c:v>2.5720000000000001</c:v>
                </c:pt>
                <c:pt idx="477">
                  <c:v>2.577</c:v>
                </c:pt>
                <c:pt idx="478">
                  <c:v>2.5790000000000002</c:v>
                </c:pt>
                <c:pt idx="479">
                  <c:v>2.5640000000000001</c:v>
                </c:pt>
                <c:pt idx="480">
                  <c:v>2.5390000000000001</c:v>
                </c:pt>
                <c:pt idx="481">
                  <c:v>2.532</c:v>
                </c:pt>
                <c:pt idx="482">
                  <c:v>2.556</c:v>
                </c:pt>
                <c:pt idx="483">
                  <c:v>2.5819999999999999</c:v>
                </c:pt>
                <c:pt idx="484">
                  <c:v>2.597</c:v>
                </c:pt>
                <c:pt idx="485">
                  <c:v>2.5950000000000002</c:v>
                </c:pt>
                <c:pt idx="486">
                  <c:v>2.5830000000000002</c:v>
                </c:pt>
                <c:pt idx="487">
                  <c:v>2.5649999999999999</c:v>
                </c:pt>
                <c:pt idx="488">
                  <c:v>2.544</c:v>
                </c:pt>
                <c:pt idx="489">
                  <c:v>2.5390000000000001</c:v>
                </c:pt>
                <c:pt idx="490">
                  <c:v>2.5710000000000002</c:v>
                </c:pt>
                <c:pt idx="491">
                  <c:v>2.5640000000000001</c:v>
                </c:pt>
                <c:pt idx="492">
                  <c:v>2.524</c:v>
                </c:pt>
                <c:pt idx="493">
                  <c:v>2.4889999999999999</c:v>
                </c:pt>
                <c:pt idx="494">
                  <c:v>2.4649999999999999</c:v>
                </c:pt>
                <c:pt idx="495">
                  <c:v>2.472</c:v>
                </c:pt>
                <c:pt idx="496">
                  <c:v>2.4809999999999999</c:v>
                </c:pt>
                <c:pt idx="497">
                  <c:v>2.4910000000000001</c:v>
                </c:pt>
                <c:pt idx="498">
                  <c:v>2.5070000000000001</c:v>
                </c:pt>
                <c:pt idx="499">
                  <c:v>2.5310000000000001</c:v>
                </c:pt>
                <c:pt idx="500">
                  <c:v>2.581</c:v>
                </c:pt>
                <c:pt idx="501">
                  <c:v>2.5979999999999999</c:v>
                </c:pt>
                <c:pt idx="502">
                  <c:v>2.5960000000000001</c:v>
                </c:pt>
                <c:pt idx="503">
                  <c:v>2.605</c:v>
                </c:pt>
                <c:pt idx="504">
                  <c:v>2.758</c:v>
                </c:pt>
                <c:pt idx="505">
                  <c:v>2.802</c:v>
                </c:pt>
                <c:pt idx="506">
                  <c:v>2.7909999999999999</c:v>
                </c:pt>
                <c:pt idx="507">
                  <c:v>2.7879999999999998</c:v>
                </c:pt>
                <c:pt idx="508">
                  <c:v>2.7919999999999998</c:v>
                </c:pt>
                <c:pt idx="509">
                  <c:v>2.7759999999999998</c:v>
                </c:pt>
                <c:pt idx="510">
                  <c:v>2.7869999999999999</c:v>
                </c:pt>
                <c:pt idx="511">
                  <c:v>2.7970000000000002</c:v>
                </c:pt>
                <c:pt idx="512">
                  <c:v>2.819</c:v>
                </c:pt>
                <c:pt idx="513">
                  <c:v>2.8820000000000001</c:v>
                </c:pt>
                <c:pt idx="514">
                  <c:v>2.915</c:v>
                </c:pt>
                <c:pt idx="515">
                  <c:v>2.9119999999999999</c:v>
                </c:pt>
                <c:pt idx="516">
                  <c:v>2.9260000000000002</c:v>
                </c:pt>
                <c:pt idx="517">
                  <c:v>2.9220000000000002</c:v>
                </c:pt>
                <c:pt idx="518">
                  <c:v>2.91</c:v>
                </c:pt>
                <c:pt idx="519">
                  <c:v>2.9009999999999998</c:v>
                </c:pt>
                <c:pt idx="520">
                  <c:v>2.903</c:v>
                </c:pt>
                <c:pt idx="521">
                  <c:v>2.9729999999999999</c:v>
                </c:pt>
                <c:pt idx="522">
                  <c:v>2.996</c:v>
                </c:pt>
                <c:pt idx="523">
                  <c:v>3.028</c:v>
                </c:pt>
                <c:pt idx="524">
                  <c:v>3.0249999999999999</c:v>
                </c:pt>
                <c:pt idx="525">
                  <c:v>3.07</c:v>
                </c:pt>
                <c:pt idx="526">
                  <c:v>3.0859999999999999</c:v>
                </c:pt>
                <c:pt idx="527">
                  <c:v>3.0630000000000002</c:v>
                </c:pt>
                <c:pt idx="528">
                  <c:v>3.0270000000000001</c:v>
                </c:pt>
                <c:pt idx="529">
                  <c:v>3.0070000000000001</c:v>
                </c:pt>
                <c:pt idx="530">
                  <c:v>2.992</c:v>
                </c:pt>
                <c:pt idx="531">
                  <c:v>2.976</c:v>
                </c:pt>
                <c:pt idx="532">
                  <c:v>2.972</c:v>
                </c:pt>
                <c:pt idx="533">
                  <c:v>3.01</c:v>
                </c:pt>
                <c:pt idx="534">
                  <c:v>3.0419999999999998</c:v>
                </c:pt>
                <c:pt idx="535">
                  <c:v>3.0430000000000001</c:v>
                </c:pt>
                <c:pt idx="536">
                  <c:v>3.1040000000000001</c:v>
                </c:pt>
                <c:pt idx="537">
                  <c:v>3.133</c:v>
                </c:pt>
                <c:pt idx="538">
                  <c:v>3.157</c:v>
                </c:pt>
                <c:pt idx="539">
                  <c:v>3.1709999999999998</c:v>
                </c:pt>
                <c:pt idx="540">
                  <c:v>3.2389999999999999</c:v>
                </c:pt>
                <c:pt idx="541">
                  <c:v>3.2770000000000001</c:v>
                </c:pt>
                <c:pt idx="542">
                  <c:v>3.2879999999999998</c:v>
                </c:pt>
                <c:pt idx="543">
                  <c:v>3.2850000000000001</c:v>
                </c:pt>
                <c:pt idx="544">
                  <c:v>3.266</c:v>
                </c:pt>
                <c:pt idx="545">
                  <c:v>3.2440000000000002</c:v>
                </c:pt>
                <c:pt idx="546">
                  <c:v>3.2160000000000002</c:v>
                </c:pt>
                <c:pt idx="547">
                  <c:v>3.2360000000000002</c:v>
                </c:pt>
                <c:pt idx="548">
                  <c:v>3.2429999999999999</c:v>
                </c:pt>
                <c:pt idx="549">
                  <c:v>3.2389999999999999</c:v>
                </c:pt>
                <c:pt idx="550">
                  <c:v>3.22</c:v>
                </c:pt>
                <c:pt idx="551">
                  <c:v>3.226</c:v>
                </c:pt>
                <c:pt idx="552">
                  <c:v>3.2229999999999999</c:v>
                </c:pt>
                <c:pt idx="553">
                  <c:v>3.2170000000000001</c:v>
                </c:pt>
                <c:pt idx="554">
                  <c:v>3.2069999999999999</c:v>
                </c:pt>
                <c:pt idx="555">
                  <c:v>3.226</c:v>
                </c:pt>
                <c:pt idx="556">
                  <c:v>3.2519999999999998</c:v>
                </c:pt>
                <c:pt idx="557">
                  <c:v>3.258</c:v>
                </c:pt>
                <c:pt idx="558">
                  <c:v>3.2679999999999998</c:v>
                </c:pt>
                <c:pt idx="559">
                  <c:v>3.2709999999999999</c:v>
                </c:pt>
                <c:pt idx="560">
                  <c:v>3.3130000000000002</c:v>
                </c:pt>
                <c:pt idx="561">
                  <c:v>3.3849999999999998</c:v>
                </c:pt>
                <c:pt idx="562">
                  <c:v>3.3940000000000001</c:v>
                </c:pt>
                <c:pt idx="563">
                  <c:v>3.38</c:v>
                </c:pt>
                <c:pt idx="564">
                  <c:v>3.355</c:v>
                </c:pt>
                <c:pt idx="565">
                  <c:v>3.3380000000000001</c:v>
                </c:pt>
                <c:pt idx="566">
                  <c:v>3.3170000000000002</c:v>
                </c:pt>
                <c:pt idx="567">
                  <c:v>3.282</c:v>
                </c:pt>
                <c:pt idx="568">
                  <c:v>3.2610000000000001</c:v>
                </c:pt>
                <c:pt idx="569">
                  <c:v>3.2069999999999999</c:v>
                </c:pt>
                <c:pt idx="570">
                  <c:v>3.161</c:v>
                </c:pt>
                <c:pt idx="571">
                  <c:v>3.121</c:v>
                </c:pt>
                <c:pt idx="572">
                  <c:v>3.077</c:v>
                </c:pt>
                <c:pt idx="573">
                  <c:v>3.048</c:v>
                </c:pt>
                <c:pt idx="574">
                  <c:v>3.0129999999999999</c:v>
                </c:pt>
                <c:pt idx="575">
                  <c:v>2.976</c:v>
                </c:pt>
                <c:pt idx="576">
                  <c:v>2.9649999999999999</c:v>
                </c:pt>
                <c:pt idx="577">
                  <c:v>2.9649999999999999</c:v>
                </c:pt>
                <c:pt idx="578">
                  <c:v>2.9660000000000002</c:v>
                </c:pt>
                <c:pt idx="579">
                  <c:v>2.9660000000000002</c:v>
                </c:pt>
                <c:pt idx="580">
                  <c:v>3.0059999999999998</c:v>
                </c:pt>
                <c:pt idx="581">
                  <c:v>3.048</c:v>
                </c:pt>
                <c:pt idx="582">
                  <c:v>3.0760000000000001</c:v>
                </c:pt>
                <c:pt idx="583">
                  <c:v>3.0790000000000002</c:v>
                </c:pt>
                <c:pt idx="584">
                  <c:v>3.07</c:v>
                </c:pt>
                <c:pt idx="585">
                  <c:v>3.08</c:v>
                </c:pt>
                <c:pt idx="586">
                  <c:v>3.0779999999999998</c:v>
                </c:pt>
                <c:pt idx="587">
                  <c:v>3.093</c:v>
                </c:pt>
                <c:pt idx="588">
                  <c:v>3.1179999999999999</c:v>
                </c:pt>
                <c:pt idx="589">
                  <c:v>3.1469999999999998</c:v>
                </c:pt>
                <c:pt idx="590">
                  <c:v>3.169</c:v>
                </c:pt>
                <c:pt idx="591">
                  <c:v>3.1709999999999998</c:v>
                </c:pt>
                <c:pt idx="592">
                  <c:v>3.16</c:v>
                </c:pt>
                <c:pt idx="593">
                  <c:v>3.1629999999999998</c:v>
                </c:pt>
                <c:pt idx="594">
                  <c:v>3.1509999999999998</c:v>
                </c:pt>
                <c:pt idx="595">
                  <c:v>3.1360000000000001</c:v>
                </c:pt>
                <c:pt idx="596">
                  <c:v>3.105</c:v>
                </c:pt>
                <c:pt idx="597">
                  <c:v>3.07</c:v>
                </c:pt>
                <c:pt idx="598">
                  <c:v>3.0430000000000001</c:v>
                </c:pt>
                <c:pt idx="599">
                  <c:v>3.0419999999999998</c:v>
                </c:pt>
                <c:pt idx="600">
                  <c:v>3.0550000000000002</c:v>
                </c:pt>
                <c:pt idx="601">
                  <c:v>3.0510000000000002</c:v>
                </c:pt>
                <c:pt idx="602">
                  <c:v>3.044</c:v>
                </c:pt>
                <c:pt idx="603">
                  <c:v>3.0339999999999998</c:v>
                </c:pt>
                <c:pt idx="604">
                  <c:v>3.032</c:v>
                </c:pt>
                <c:pt idx="605">
                  <c:v>3.0110000000000001</c:v>
                </c:pt>
                <c:pt idx="606">
                  <c:v>2.9940000000000002</c:v>
                </c:pt>
                <c:pt idx="607">
                  <c:v>2.9830000000000001</c:v>
                </c:pt>
                <c:pt idx="608">
                  <c:v>2.976</c:v>
                </c:pt>
                <c:pt idx="609">
                  <c:v>2.9710000000000001</c:v>
                </c:pt>
                <c:pt idx="610">
                  <c:v>2.9870000000000001</c:v>
                </c:pt>
                <c:pt idx="611">
                  <c:v>3.081</c:v>
                </c:pt>
                <c:pt idx="612">
                  <c:v>3.0659999999999998</c:v>
                </c:pt>
                <c:pt idx="613">
                  <c:v>3.0470000000000002</c:v>
                </c:pt>
                <c:pt idx="614">
                  <c:v>3.0510000000000002</c:v>
                </c:pt>
                <c:pt idx="615">
                  <c:v>3.05</c:v>
                </c:pt>
                <c:pt idx="616">
                  <c:v>3.0640000000000001</c:v>
                </c:pt>
                <c:pt idx="617">
                  <c:v>3.0619999999999998</c:v>
                </c:pt>
                <c:pt idx="618">
                  <c:v>3.073</c:v>
                </c:pt>
                <c:pt idx="619">
                  <c:v>3.0739999999999998</c:v>
                </c:pt>
                <c:pt idx="620">
                  <c:v>3.0659999999999998</c:v>
                </c:pt>
                <c:pt idx="621">
                  <c:v>3.07</c:v>
                </c:pt>
                <c:pt idx="622">
                  <c:v>3.0489999999999999</c:v>
                </c:pt>
                <c:pt idx="623">
                  <c:v>3.0459999999999998</c:v>
                </c:pt>
                <c:pt idx="624">
                  <c:v>3.0409999999999999</c:v>
                </c:pt>
                <c:pt idx="625">
                  <c:v>3.069</c:v>
                </c:pt>
                <c:pt idx="626">
                  <c:v>3.0790000000000002</c:v>
                </c:pt>
                <c:pt idx="627">
                  <c:v>3.0640000000000001</c:v>
                </c:pt>
                <c:pt idx="628">
                  <c:v>3.0369999999999999</c:v>
                </c:pt>
                <c:pt idx="629">
                  <c:v>3.01</c:v>
                </c:pt>
                <c:pt idx="630">
                  <c:v>2.956</c:v>
                </c:pt>
                <c:pt idx="631">
                  <c:v>2.91</c:v>
                </c:pt>
                <c:pt idx="632">
                  <c:v>2.89</c:v>
                </c:pt>
                <c:pt idx="633">
                  <c:v>2.8820000000000001</c:v>
                </c:pt>
                <c:pt idx="634">
                  <c:v>2.851</c:v>
                </c:pt>
                <c:pt idx="635">
                  <c:v>2.8140000000000001</c:v>
                </c:pt>
                <c:pt idx="636">
                  <c:v>2.7330000000000001</c:v>
                </c:pt>
                <c:pt idx="637">
                  <c:v>2.6589999999999998</c:v>
                </c:pt>
                <c:pt idx="638">
                  <c:v>2.5859999999999999</c:v>
                </c:pt>
                <c:pt idx="639">
                  <c:v>2.548</c:v>
                </c:pt>
                <c:pt idx="640">
                  <c:v>2.5070000000000001</c:v>
                </c:pt>
                <c:pt idx="641">
                  <c:v>2.48</c:v>
                </c:pt>
                <c:pt idx="642">
                  <c:v>2.4369999999999998</c:v>
                </c:pt>
                <c:pt idx="643">
                  <c:v>2.399</c:v>
                </c:pt>
                <c:pt idx="644">
                  <c:v>2.3940000000000001</c:v>
                </c:pt>
                <c:pt idx="645">
                  <c:v>2.3860000000000001</c:v>
                </c:pt>
                <c:pt idx="646">
                  <c:v>2.39</c:v>
                </c:pt>
                <c:pt idx="647">
                  <c:v>2.3860000000000001</c:v>
                </c:pt>
                <c:pt idx="648">
                  <c:v>2.3959999999999999</c:v>
                </c:pt>
                <c:pt idx="649">
                  <c:v>2.403</c:v>
                </c:pt>
                <c:pt idx="650">
                  <c:v>2.4249999999999998</c:v>
                </c:pt>
                <c:pt idx="651">
                  <c:v>2.4300000000000002</c:v>
                </c:pt>
                <c:pt idx="652">
                  <c:v>2.4369999999999998</c:v>
                </c:pt>
                <c:pt idx="653">
                  <c:v>2.4380000000000002</c:v>
                </c:pt>
                <c:pt idx="654">
                  <c:v>2.4329999999999998</c:v>
                </c:pt>
                <c:pt idx="655">
                  <c:v>2.427</c:v>
                </c:pt>
                <c:pt idx="656">
                  <c:v>2.4239999999999999</c:v>
                </c:pt>
                <c:pt idx="657">
                  <c:v>2.4279999999999999</c:v>
                </c:pt>
                <c:pt idx="658">
                  <c:v>2.427</c:v>
                </c:pt>
                <c:pt idx="659">
                  <c:v>2.4260000000000002</c:v>
                </c:pt>
                <c:pt idx="660">
                  <c:v>2.4409999999999998</c:v>
                </c:pt>
                <c:pt idx="661">
                  <c:v>2.4350000000000001</c:v>
                </c:pt>
                <c:pt idx="662">
                  <c:v>2.4220000000000002</c:v>
                </c:pt>
                <c:pt idx="663">
                  <c:v>2.4039999999999999</c:v>
                </c:pt>
                <c:pt idx="664">
                  <c:v>2.3940000000000001</c:v>
                </c:pt>
                <c:pt idx="665">
                  <c:v>2.387</c:v>
                </c:pt>
                <c:pt idx="666">
                  <c:v>2.395</c:v>
                </c:pt>
                <c:pt idx="667">
                  <c:v>2.3879999999999999</c:v>
                </c:pt>
                <c:pt idx="668">
                  <c:v>2.3849999999999998</c:v>
                </c:pt>
                <c:pt idx="669">
                  <c:v>2.3719999999999999</c:v>
                </c:pt>
                <c:pt idx="670">
                  <c:v>2.383</c:v>
                </c:pt>
                <c:pt idx="671">
                  <c:v>2.4409999999999998</c:v>
                </c:pt>
                <c:pt idx="672">
                  <c:v>2.4620000000000002</c:v>
                </c:pt>
                <c:pt idx="673">
                  <c:v>2.5019999999999998</c:v>
                </c:pt>
                <c:pt idx="674">
                  <c:v>2.5259999999999998</c:v>
                </c:pt>
                <c:pt idx="675">
                  <c:v>2.5590000000000002</c:v>
                </c:pt>
                <c:pt idx="676">
                  <c:v>2.6190000000000002</c:v>
                </c:pt>
                <c:pt idx="677">
                  <c:v>2.6349999999999998</c:v>
                </c:pt>
                <c:pt idx="678">
                  <c:v>2.64</c:v>
                </c:pt>
                <c:pt idx="679">
                  <c:v>2.67</c:v>
                </c:pt>
                <c:pt idx="680">
                  <c:v>2.6960000000000002</c:v>
                </c:pt>
                <c:pt idx="681">
                  <c:v>2.7160000000000002</c:v>
                </c:pt>
                <c:pt idx="682">
                  <c:v>2.738</c:v>
                </c:pt>
                <c:pt idx="683">
                  <c:v>2.8010000000000002</c:v>
                </c:pt>
                <c:pt idx="684">
                  <c:v>2.8759999999999999</c:v>
                </c:pt>
                <c:pt idx="685">
                  <c:v>2.9729999999999999</c:v>
                </c:pt>
                <c:pt idx="686">
                  <c:v>3.0720000000000001</c:v>
                </c:pt>
                <c:pt idx="687">
                  <c:v>3.1429999999999998</c:v>
                </c:pt>
                <c:pt idx="688">
                  <c:v>3.1909999999999998</c:v>
                </c:pt>
                <c:pt idx="689">
                  <c:v>3.194</c:v>
                </c:pt>
                <c:pt idx="690">
                  <c:v>3.161</c:v>
                </c:pt>
                <c:pt idx="691">
                  <c:v>3.1440000000000001</c:v>
                </c:pt>
                <c:pt idx="692">
                  <c:v>3.129</c:v>
                </c:pt>
                <c:pt idx="693">
                  <c:v>3.1240000000000001</c:v>
                </c:pt>
                <c:pt idx="694">
                  <c:v>3.1240000000000001</c:v>
                </c:pt>
                <c:pt idx="695">
                  <c:v>3.1419999999999999</c:v>
                </c:pt>
                <c:pt idx="696">
                  <c:v>3.1859999999999999</c:v>
                </c:pt>
                <c:pt idx="697">
                  <c:v>3.2490000000000001</c:v>
                </c:pt>
                <c:pt idx="698">
                  <c:v>3.2530000000000001</c:v>
                </c:pt>
                <c:pt idx="699">
                  <c:v>3.2549999999999999</c:v>
                </c:pt>
                <c:pt idx="700">
                  <c:v>3.274</c:v>
                </c:pt>
                <c:pt idx="701">
                  <c:v>3.286</c:v>
                </c:pt>
                <c:pt idx="702">
                  <c:v>3.2869999999999999</c:v>
                </c:pt>
                <c:pt idx="703">
                  <c:v>3.3</c:v>
                </c:pt>
                <c:pt idx="704">
                  <c:v>3.331</c:v>
                </c:pt>
                <c:pt idx="705">
                  <c:v>3.3380000000000001</c:v>
                </c:pt>
                <c:pt idx="706">
                  <c:v>3.3439999999999999</c:v>
                </c:pt>
                <c:pt idx="707">
                  <c:v>3.3420000000000001</c:v>
                </c:pt>
                <c:pt idx="708">
                  <c:v>3.367</c:v>
                </c:pt>
                <c:pt idx="709">
                  <c:v>3.3639999999999999</c:v>
                </c:pt>
                <c:pt idx="710">
                  <c:v>3.3559999999999999</c:v>
                </c:pt>
                <c:pt idx="711">
                  <c:v>3.3239999999999998</c:v>
                </c:pt>
                <c:pt idx="712">
                  <c:v>3.339</c:v>
                </c:pt>
                <c:pt idx="713">
                  <c:v>3.3730000000000002</c:v>
                </c:pt>
                <c:pt idx="714">
                  <c:v>3.3719999999999999</c:v>
                </c:pt>
                <c:pt idx="715">
                  <c:v>3.3849999999999998</c:v>
                </c:pt>
                <c:pt idx="716">
                  <c:v>3.4060000000000001</c:v>
                </c:pt>
                <c:pt idx="717">
                  <c:v>3.4769999999999999</c:v>
                </c:pt>
                <c:pt idx="718">
                  <c:v>3.5859999999999999</c:v>
                </c:pt>
                <c:pt idx="719">
                  <c:v>3.6709999999999998</c:v>
                </c:pt>
                <c:pt idx="720">
                  <c:v>3.7130000000000001</c:v>
                </c:pt>
                <c:pt idx="721">
                  <c:v>3.7269999999999999</c:v>
                </c:pt>
                <c:pt idx="722">
                  <c:v>3.73</c:v>
                </c:pt>
                <c:pt idx="723">
                  <c:v>3.734</c:v>
                </c:pt>
                <c:pt idx="724">
                  <c:v>3.7240000000000002</c:v>
                </c:pt>
                <c:pt idx="725">
                  <c:v>3.72</c:v>
                </c:pt>
                <c:pt idx="726">
                  <c:v>3.6739999999999999</c:v>
                </c:pt>
                <c:pt idx="727">
                  <c:v>3.649</c:v>
                </c:pt>
                <c:pt idx="728">
                  <c:v>3.6259999999999999</c:v>
                </c:pt>
                <c:pt idx="729">
                  <c:v>3.6150000000000002</c:v>
                </c:pt>
                <c:pt idx="730">
                  <c:v>3.613</c:v>
                </c:pt>
                <c:pt idx="731">
                  <c:v>3.657</c:v>
                </c:pt>
                <c:pt idx="732">
                  <c:v>3.7250000000000001</c:v>
                </c:pt>
                <c:pt idx="733">
                  <c:v>3.78</c:v>
                </c:pt>
                <c:pt idx="734">
                  <c:v>3.8460000000000001</c:v>
                </c:pt>
                <c:pt idx="735">
                  <c:v>3.9510000000000001</c:v>
                </c:pt>
                <c:pt idx="736">
                  <c:v>4.0190000000000001</c:v>
                </c:pt>
                <c:pt idx="737">
                  <c:v>4.0549999999999997</c:v>
                </c:pt>
                <c:pt idx="738">
                  <c:v>4.1040000000000001</c:v>
                </c:pt>
                <c:pt idx="739">
                  <c:v>4.8490000000000002</c:v>
                </c:pt>
                <c:pt idx="740">
                  <c:v>5.25</c:v>
                </c:pt>
                <c:pt idx="741">
                  <c:v>5.1340000000000003</c:v>
                </c:pt>
                <c:pt idx="742">
                  <c:v>5.1849999999999996</c:v>
                </c:pt>
                <c:pt idx="743">
                  <c:v>5.1440000000000001</c:v>
                </c:pt>
                <c:pt idx="744">
                  <c:v>5.0730000000000004</c:v>
                </c:pt>
                <c:pt idx="745">
                  <c:v>5.101</c:v>
                </c:pt>
                <c:pt idx="746">
                  <c:v>5.16</c:v>
                </c:pt>
                <c:pt idx="747">
                  <c:v>5.5090000000000003</c:v>
                </c:pt>
                <c:pt idx="748">
                  <c:v>5.6230000000000002</c:v>
                </c:pt>
                <c:pt idx="749">
                  <c:v>5.6130000000000004</c:v>
                </c:pt>
                <c:pt idx="750">
                  <c:v>5.5709999999999997</c:v>
                </c:pt>
                <c:pt idx="751">
                  <c:v>5.5389999999999997</c:v>
                </c:pt>
                <c:pt idx="752">
                  <c:v>5.7030000000000003</c:v>
                </c:pt>
                <c:pt idx="753">
                  <c:v>5.718</c:v>
                </c:pt>
                <c:pt idx="754">
                  <c:v>5.81</c:v>
                </c:pt>
                <c:pt idx="755">
                  <c:v>5.7830000000000004</c:v>
                </c:pt>
                <c:pt idx="756">
                  <c:v>5.6749999999999998</c:v>
                </c:pt>
                <c:pt idx="757">
                  <c:v>5.5679999999999996</c:v>
                </c:pt>
                <c:pt idx="758">
                  <c:v>5.4320000000000004</c:v>
                </c:pt>
                <c:pt idx="759">
                  <c:v>5.2679999999999998</c:v>
                </c:pt>
                <c:pt idx="760">
                  <c:v>5.1379999999999999</c:v>
                </c:pt>
                <c:pt idx="761">
                  <c:v>4.9930000000000003</c:v>
                </c:pt>
                <c:pt idx="762">
                  <c:v>4.9109999999999996</c:v>
                </c:pt>
                <c:pt idx="763">
                  <c:v>4.9089999999999998</c:v>
                </c:pt>
                <c:pt idx="764">
                  <c:v>5.1150000000000002</c:v>
                </c:pt>
                <c:pt idx="765">
                  <c:v>5.0839999999999996</c:v>
                </c:pt>
                <c:pt idx="766">
                  <c:v>5.0330000000000004</c:v>
                </c:pt>
                <c:pt idx="767">
                  <c:v>4.9640000000000004</c:v>
                </c:pt>
                <c:pt idx="768">
                  <c:v>4.8890000000000002</c:v>
                </c:pt>
                <c:pt idx="769">
                  <c:v>4.8360000000000003</c:v>
                </c:pt>
                <c:pt idx="770">
                  <c:v>5.2240000000000002</c:v>
                </c:pt>
                <c:pt idx="771">
                  <c:v>5.3390000000000004</c:v>
                </c:pt>
                <c:pt idx="772">
                  <c:v>5.3410000000000002</c:v>
                </c:pt>
                <c:pt idx="773">
                  <c:v>5.3170000000000002</c:v>
                </c:pt>
                <c:pt idx="774">
                  <c:v>5.3330000000000002</c:v>
                </c:pt>
                <c:pt idx="775">
                  <c:v>5.3129999999999997</c:v>
                </c:pt>
                <c:pt idx="776">
                  <c:v>5.2329999999999997</c:v>
                </c:pt>
                <c:pt idx="777">
                  <c:v>5.141</c:v>
                </c:pt>
                <c:pt idx="778">
                  <c:v>4.9669999999999996</c:v>
                </c:pt>
                <c:pt idx="779">
                  <c:v>4.7539999999999996</c:v>
                </c:pt>
                <c:pt idx="780">
                  <c:v>4.5960000000000001</c:v>
                </c:pt>
                <c:pt idx="781">
                  <c:v>4.5369999999999999</c:v>
                </c:pt>
                <c:pt idx="782">
                  <c:v>4.5830000000000002</c:v>
                </c:pt>
                <c:pt idx="783">
                  <c:v>4.5490000000000004</c:v>
                </c:pt>
                <c:pt idx="784">
                  <c:v>4.524</c:v>
                </c:pt>
                <c:pt idx="785">
                  <c:v>4.6040000000000001</c:v>
                </c:pt>
                <c:pt idx="786">
                  <c:v>4.6219999999999999</c:v>
                </c:pt>
                <c:pt idx="787">
                  <c:v>4.5389999999999997</c:v>
                </c:pt>
                <c:pt idx="788">
                  <c:v>4.444</c:v>
                </c:pt>
                <c:pt idx="789">
                  <c:v>4.3760000000000003</c:v>
                </c:pt>
                <c:pt idx="790">
                  <c:v>4.2939999999999996</c:v>
                </c:pt>
                <c:pt idx="791">
                  <c:v>4.282</c:v>
                </c:pt>
                <c:pt idx="792">
                  <c:v>4.2469999999999999</c:v>
                </c:pt>
                <c:pt idx="793">
                  <c:v>4.1849999999999996</c:v>
                </c:pt>
                <c:pt idx="794">
                  <c:v>4.1280000000000001</c:v>
                </c:pt>
                <c:pt idx="795">
                  <c:v>4.1050000000000004</c:v>
                </c:pt>
                <c:pt idx="796">
                  <c:v>4.0979999999999999</c:v>
                </c:pt>
                <c:pt idx="797">
                  <c:v>4.1159999999999997</c:v>
                </c:pt>
                <c:pt idx="798">
                  <c:v>4.077</c:v>
                </c:pt>
                <c:pt idx="799">
                  <c:v>4.0179999999999998</c:v>
                </c:pt>
                <c:pt idx="800">
                  <c:v>3.9220000000000002</c:v>
                </c:pt>
                <c:pt idx="801">
                  <c:v>3.8969999999999998</c:v>
                </c:pt>
                <c:pt idx="802">
                  <c:v>3.883</c:v>
                </c:pt>
                <c:pt idx="803">
                  <c:v>3.855</c:v>
                </c:pt>
                <c:pt idx="804">
                  <c:v>3.7970000000000002</c:v>
                </c:pt>
                <c:pt idx="805">
                  <c:v>3.794</c:v>
                </c:pt>
                <c:pt idx="806">
                  <c:v>3.8149999999999999</c:v>
                </c:pt>
                <c:pt idx="807">
                  <c:v>3.8010000000000002</c:v>
                </c:pt>
                <c:pt idx="808">
                  <c:v>3.7669999999999999</c:v>
                </c:pt>
                <c:pt idx="809">
                  <c:v>3.806</c:v>
                </c:pt>
                <c:pt idx="810">
                  <c:v>3.806</c:v>
                </c:pt>
                <c:pt idx="811">
                  <c:v>3.9049999999999998</c:v>
                </c:pt>
                <c:pt idx="812">
                  <c:v>4.1269999999999998</c:v>
                </c:pt>
                <c:pt idx="813">
                  <c:v>4.2389999999999999</c:v>
                </c:pt>
                <c:pt idx="814">
                  <c:v>4.3780000000000001</c:v>
                </c:pt>
                <c:pt idx="815">
                  <c:v>4.3890000000000002</c:v>
                </c:pt>
                <c:pt idx="816">
                  <c:v>4.4749999999999996</c:v>
                </c:pt>
                <c:pt idx="817">
                  <c:v>4.492</c:v>
                </c:pt>
                <c:pt idx="818">
                  <c:v>4.54</c:v>
                </c:pt>
                <c:pt idx="819">
                  <c:v>4.633</c:v>
                </c:pt>
                <c:pt idx="820">
                  <c:v>4.5860000000000003</c:v>
                </c:pt>
                <c:pt idx="821">
                  <c:v>4.593</c:v>
                </c:pt>
                <c:pt idx="822">
                  <c:v>#N/A</c:v>
                </c:pt>
                <c:pt idx="823">
                  <c:v>#N/A</c:v>
                </c:pt>
                <c:pt idx="824">
                  <c:v>#N/A</c:v>
                </c:pt>
                <c:pt idx="825">
                  <c:v>#N/A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FC0-41C4-8A82-C56C5968C59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m/d/yyyy" sourceLinked="0"/>
        <c:majorTickMark val="none"/>
        <c:minorTickMark val="none"/>
        <c:tickLblPos val="nextTo"/>
        <c:spPr>
          <a:noFill/>
          <a:ln w="12700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0"/>
        <c:lblAlgn val="ctr"/>
        <c:lblOffset val="100"/>
        <c:tickLblSkip val="52"/>
        <c:tickMarkSkip val="52"/>
        <c:noMultiLvlLbl val="1"/>
      </c:catAx>
      <c:valAx>
        <c:axId val="491790336"/>
        <c:scaling>
          <c:orientation val="minMax"/>
          <c:max val="6"/>
          <c:min val="1.5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numFmt formatCode="&quot;$&quot;#,##0.0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491790992"/>
        <c:crossesAt val="1"/>
        <c:crossBetween val="between"/>
        <c:majorUnit val="0.5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/>
          <a:lstStyle/>
          <a:p>
            <a:pPr algn="l">
              <a:defRPr sz="1400" b="0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All 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non-supervisory employees, nominal dollars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4.9427160199713938E-2"/>
          <c:y val="0"/>
        </c:manualLayout>
      </c:layout>
      <c:overlay val="0"/>
    </c:title>
    <c:autoTitleDeleted val="0"/>
    <c:plotArea>
      <c:layout>
        <c:manualLayout>
          <c:layoutTarget val="inner"/>
          <c:xMode val="edge"/>
          <c:yMode val="edge"/>
          <c:x val="4.0674331469435887E-2"/>
          <c:y val="7.7727716156244894E-2"/>
          <c:w val="0.91060163888116341"/>
          <c:h val="0.77445038730402194"/>
        </c:manualLayout>
      </c:layout>
      <c:lineChart>
        <c:grouping val="standard"/>
        <c:varyColors val="0"/>
        <c:ser>
          <c:idx val="1"/>
          <c:order val="0"/>
          <c:tx>
            <c:strRef>
              <c:f>'Real AHE'!$E$6</c:f>
              <c:strCache>
                <c:ptCount val="1"/>
                <c:pt idx="0">
                  <c:v>Real AHE</c:v>
                </c:pt>
              </c:strCache>
            </c:strRef>
          </c:tx>
          <c:spPr>
            <a:ln w="38100" cap="rnd">
              <a:solidFill>
                <a:srgbClr val="00B050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trendline>
            <c:spPr>
              <a:ln w="19050">
                <a:prstDash val="sysDot"/>
              </a:ln>
            </c:spPr>
            <c:trendlineType val="linear"/>
            <c:dispRSqr val="0"/>
            <c:dispEq val="0"/>
          </c:trendline>
          <c:cat>
            <c:numRef>
              <c:f>'Real AHE'!$A$7:$A$222</c:f>
              <c:numCache>
                <c:formatCode>General</c:formatCode>
                <c:ptCount val="216"/>
                <c:pt idx="6">
                  <c:v>2006</c:v>
                </c:pt>
                <c:pt idx="18">
                  <c:v>2007</c:v>
                </c:pt>
                <c:pt idx="30">
                  <c:v>2008</c:v>
                </c:pt>
                <c:pt idx="42">
                  <c:v>2009</c:v>
                </c:pt>
                <c:pt idx="54">
                  <c:v>2010</c:v>
                </c:pt>
                <c:pt idx="66">
                  <c:v>2011</c:v>
                </c:pt>
                <c:pt idx="78">
                  <c:v>2012</c:v>
                </c:pt>
                <c:pt idx="90">
                  <c:v>2013</c:v>
                </c:pt>
                <c:pt idx="102">
                  <c:v>2014</c:v>
                </c:pt>
                <c:pt idx="114">
                  <c:v>2015</c:v>
                </c:pt>
                <c:pt idx="126">
                  <c:v>2016</c:v>
                </c:pt>
                <c:pt idx="138">
                  <c:v>2017</c:v>
                </c:pt>
                <c:pt idx="150">
                  <c:v>2018</c:v>
                </c:pt>
                <c:pt idx="162">
                  <c:v>2019</c:v>
                </c:pt>
                <c:pt idx="174">
                  <c:v>2020</c:v>
                </c:pt>
                <c:pt idx="186">
                  <c:v>2021</c:v>
                </c:pt>
                <c:pt idx="198">
                  <c:v>2022</c:v>
                </c:pt>
                <c:pt idx="210">
                  <c:v>2023</c:v>
                </c:pt>
              </c:numCache>
            </c:numRef>
          </c:cat>
          <c:val>
            <c:numRef>
              <c:f>'Real AHE'!$E$7:$E$222</c:f>
              <c:numCache>
                <c:formatCode>General</c:formatCode>
                <c:ptCount val="216"/>
                <c:pt idx="2" formatCode="0.00">
                  <c:v>22.621574028085067</c:v>
                </c:pt>
                <c:pt idx="3" formatCode="0.00">
                  <c:v>22.640703828132899</c:v>
                </c:pt>
                <c:pt idx="4" formatCode="0.00">
                  <c:v>22.557402032743529</c:v>
                </c:pt>
                <c:pt idx="5" formatCode="0.00">
                  <c:v>22.613711309091315</c:v>
                </c:pt>
                <c:pt idx="6" formatCode="0.00">
                  <c:v>22.603464602016373</c:v>
                </c:pt>
                <c:pt idx="7" formatCode="0.00">
                  <c:v>22.565993314602377</c:v>
                </c:pt>
                <c:pt idx="8" formatCode="0.00">
                  <c:v>22.725248296441457</c:v>
                </c:pt>
                <c:pt idx="9" formatCode="0.00">
                  <c:v>22.801593767787587</c:v>
                </c:pt>
                <c:pt idx="10" formatCode="0.00">
                  <c:v>22.860649336159767</c:v>
                </c:pt>
                <c:pt idx="11" formatCode="0.00">
                  <c:v>22.868514380371099</c:v>
                </c:pt>
                <c:pt idx="12" formatCode="0.00">
                  <c:v>22.81465722611885</c:v>
                </c:pt>
                <c:pt idx="13" formatCode="0.00">
                  <c:v>22.843508709916161</c:v>
                </c:pt>
                <c:pt idx="14" formatCode="0.00">
                  <c:v>22.81506917159177</c:v>
                </c:pt>
                <c:pt idx="15" formatCode="0.00">
                  <c:v>22.816610668247801</c:v>
                </c:pt>
                <c:pt idx="16" formatCode="0.00">
                  <c:v>22.816102650565476</c:v>
                </c:pt>
                <c:pt idx="17" formatCode="0.00">
                  <c:v>22.888170257396322</c:v>
                </c:pt>
                <c:pt idx="18" formatCode="0.00">
                  <c:v>22.85321581289816</c:v>
                </c:pt>
                <c:pt idx="19" formatCode="0.00">
                  <c:v>22.892275492183924</c:v>
                </c:pt>
                <c:pt idx="20" formatCode="0.00">
                  <c:v>22.847710885240204</c:v>
                </c:pt>
                <c:pt idx="21" formatCode="0.00">
                  <c:v>22.800350774627297</c:v>
                </c:pt>
                <c:pt idx="22" formatCode="0.00">
                  <c:v>22.744895321788576</c:v>
                </c:pt>
                <c:pt idx="23" formatCode="0.00">
                  <c:v>22.745831184459345</c:v>
                </c:pt>
                <c:pt idx="24" formatCode="0.00">
                  <c:v>22.72069619642685</c:v>
                </c:pt>
                <c:pt idx="25" formatCode="0.00">
                  <c:v>22.739913575493091</c:v>
                </c:pt>
                <c:pt idx="26" formatCode="0.00">
                  <c:v>22.781569965870304</c:v>
                </c:pt>
                <c:pt idx="27" formatCode="0.00">
                  <c:v>22.76066174122256</c:v>
                </c:pt>
                <c:pt idx="28" formatCode="0.00">
                  <c:v>22.758832695548932</c:v>
                </c:pt>
                <c:pt idx="29" formatCode="0.00">
                  <c:v>22.637101272350325</c:v>
                </c:pt>
                <c:pt idx="30" formatCode="0.00">
                  <c:v>22.626567361176583</c:v>
                </c:pt>
                <c:pt idx="31" formatCode="0.00">
                  <c:v>22.749669762858282</c:v>
                </c:pt>
                <c:pt idx="32" formatCode="0.00">
                  <c:v>22.751793851149635</c:v>
                </c:pt>
                <c:pt idx="33" formatCode="0.00">
                  <c:v>22.945115200084359</c:v>
                </c:pt>
                <c:pt idx="34" formatCode="0.00">
                  <c:v>23.336463357377614</c:v>
                </c:pt>
                <c:pt idx="35" formatCode="0.00">
                  <c:v>23.542793372821706</c:v>
                </c:pt>
                <c:pt idx="36" formatCode="0.00">
                  <c:v>23.561473343132732</c:v>
                </c:pt>
                <c:pt idx="37" formatCode="0.00">
                  <c:v>23.551714166372133</c:v>
                </c:pt>
                <c:pt idx="38" formatCode="0.00">
                  <c:v>23.652524472750276</c:v>
                </c:pt>
                <c:pt idx="39" formatCode="0.00">
                  <c:v>23.650710377833214</c:v>
                </c:pt>
                <c:pt idx="40" formatCode="0.00">
                  <c:v>23.647564653789384</c:v>
                </c:pt>
                <c:pt idx="41" formatCode="0.00">
                  <c:v>23.539918981850661</c:v>
                </c:pt>
                <c:pt idx="42" formatCode="0.00">
                  <c:v>23.579941103303103</c:v>
                </c:pt>
                <c:pt idx="43" formatCode="0.00">
                  <c:v>23.564704884667574</c:v>
                </c:pt>
                <c:pt idx="44" formatCode="0.00">
                  <c:v>23.55829779127729</c:v>
                </c:pt>
                <c:pt idx="45" formatCode="0.00">
                  <c:v>23.51155018081753</c:v>
                </c:pt>
                <c:pt idx="46" formatCode="0.00">
                  <c:v>23.505531950696227</c:v>
                </c:pt>
                <c:pt idx="47" formatCode="0.00">
                  <c:v>23.502207273491695</c:v>
                </c:pt>
                <c:pt idx="48" formatCode="0.00">
                  <c:v>23.503377102823343</c:v>
                </c:pt>
                <c:pt idx="49" formatCode="0.00">
                  <c:v>23.546069536944781</c:v>
                </c:pt>
                <c:pt idx="50" formatCode="0.00">
                  <c:v>23.523250942605781</c:v>
                </c:pt>
                <c:pt idx="51" formatCode="0.00">
                  <c:v>23.541849851358705</c:v>
                </c:pt>
                <c:pt idx="52" formatCode="0.00">
                  <c:v>23.576316946066431</c:v>
                </c:pt>
                <c:pt idx="53" formatCode="0.00">
                  <c:v>23.586189568895126</c:v>
                </c:pt>
                <c:pt idx="54" formatCode="0.00">
                  <c:v>23.628718463662608</c:v>
                </c:pt>
                <c:pt idx="55" formatCode="0.00">
                  <c:v>23.627722358594035</c:v>
                </c:pt>
                <c:pt idx="56" formatCode="0.00">
                  <c:v>23.656475007826362</c:v>
                </c:pt>
                <c:pt idx="57" formatCode="0.00">
                  <c:v>23.654236230301137</c:v>
                </c:pt>
                <c:pt idx="58" formatCode="0.00">
                  <c:v>23.59670704994446</c:v>
                </c:pt>
                <c:pt idx="59" formatCode="0.00">
                  <c:v>23.574498938318918</c:v>
                </c:pt>
                <c:pt idx="60" formatCode="0.00">
                  <c:v>23.607166830175043</c:v>
                </c:pt>
                <c:pt idx="61" formatCode="0.00">
                  <c:v>23.55182534370012</c:v>
                </c:pt>
                <c:pt idx="62" formatCode="0.00">
                  <c:v>23.457372610158366</c:v>
                </c:pt>
                <c:pt idx="63" formatCode="0.00">
                  <c:v>23.399517914777139</c:v>
                </c:pt>
                <c:pt idx="64" formatCode="0.00">
                  <c:v>23.399792273384517</c:v>
                </c:pt>
                <c:pt idx="65" formatCode="0.00">
                  <c:v>23.435112948892918</c:v>
                </c:pt>
                <c:pt idx="66" formatCode="0.00">
                  <c:v>23.486828058117194</c:v>
                </c:pt>
                <c:pt idx="67" formatCode="0.00">
                  <c:v>23.401363304390163</c:v>
                </c:pt>
                <c:pt idx="68" formatCode="0.00">
                  <c:v>23.419061414260103</c:v>
                </c:pt>
                <c:pt idx="69" formatCode="0.00">
                  <c:v>23.499620157001775</c:v>
                </c:pt>
                <c:pt idx="70" formatCode="0.00">
                  <c:v>23.441290635613782</c:v>
                </c:pt>
                <c:pt idx="71" formatCode="0.00">
                  <c:v>23.458336700880949</c:v>
                </c:pt>
                <c:pt idx="72" formatCode="0.00">
                  <c:v>23.40847537831117</c:v>
                </c:pt>
                <c:pt idx="73" formatCode="0.00">
                  <c:v>23.386408157114875</c:v>
                </c:pt>
                <c:pt idx="74" formatCode="0.00">
                  <c:v>23.422068481475911</c:v>
                </c:pt>
                <c:pt idx="75" formatCode="0.00">
                  <c:v>23.421384655438288</c:v>
                </c:pt>
                <c:pt idx="76" formatCode="0.00">
                  <c:v>23.457705956653367</c:v>
                </c:pt>
                <c:pt idx="77" formatCode="0.00">
                  <c:v>23.529647757361793</c:v>
                </c:pt>
                <c:pt idx="78" formatCode="0.00">
                  <c:v>23.561259274112693</c:v>
                </c:pt>
                <c:pt idx="79" formatCode="0.00">
                  <c:v>23.472395703222581</c:v>
                </c:pt>
                <c:pt idx="80" formatCode="0.00">
                  <c:v>23.481006983532414</c:v>
                </c:pt>
                <c:pt idx="81" formatCode="0.00">
                  <c:v>23.40157136188007</c:v>
                </c:pt>
                <c:pt idx="82" formatCode="0.00">
                  <c:v>23.486964386883876</c:v>
                </c:pt>
                <c:pt idx="83" formatCode="0.00">
                  <c:v>23.590110643881783</c:v>
                </c:pt>
                <c:pt idx="84" formatCode="0.00">
                  <c:v>23.564547014992012</c:v>
                </c:pt>
                <c:pt idx="85" formatCode="0.00">
                  <c:v>23.508244691367789</c:v>
                </c:pt>
                <c:pt idx="86" formatCode="0.00">
                  <c:v>23.558991516783308</c:v>
                </c:pt>
                <c:pt idx="87" formatCode="0.00">
                  <c:v>23.646774449199555</c:v>
                </c:pt>
                <c:pt idx="88" formatCode="0.00">
                  <c:v>23.651123651123651</c:v>
                </c:pt>
                <c:pt idx="89" formatCode="0.00">
                  <c:v>23.669340498676259</c:v>
                </c:pt>
                <c:pt idx="90" formatCode="0.00">
                  <c:v>23.659648361189493</c:v>
                </c:pt>
                <c:pt idx="91" formatCode="0.00">
                  <c:v>23.662693330706333</c:v>
                </c:pt>
                <c:pt idx="92" formatCode="0.00">
                  <c:v>23.692762186115214</c:v>
                </c:pt>
                <c:pt idx="93" formatCode="0.00">
                  <c:v>23.682192642692833</c:v>
                </c:pt>
                <c:pt idx="94" formatCode="0.00">
                  <c:v>23.713940774040303</c:v>
                </c:pt>
                <c:pt idx="95" formatCode="0.00">
                  <c:v>23.686375925708241</c:v>
                </c:pt>
                <c:pt idx="96" formatCode="0.00">
                  <c:v>23.690334187215235</c:v>
                </c:pt>
                <c:pt idx="97" formatCode="0.00">
                  <c:v>23.774160136019855</c:v>
                </c:pt>
                <c:pt idx="98" formatCode="0.00">
                  <c:v>23.71687974800815</c:v>
                </c:pt>
                <c:pt idx="99" formatCode="0.00">
                  <c:v>23.69040898561445</c:v>
                </c:pt>
                <c:pt idx="100" formatCode="0.00">
                  <c:v>23.707964515784258</c:v>
                </c:pt>
                <c:pt idx="101" formatCode="0.00">
                  <c:v>23.739505993109137</c:v>
                </c:pt>
                <c:pt idx="102" formatCode="0.00">
                  <c:v>23.72322899505766</c:v>
                </c:pt>
                <c:pt idx="103" formatCode="0.00">
                  <c:v>23.784370547699581</c:v>
                </c:pt>
                <c:pt idx="104" formatCode="0.00">
                  <c:v>23.788068176312706</c:v>
                </c:pt>
                <c:pt idx="105" formatCode="0.00">
                  <c:v>23.823138877850681</c:v>
                </c:pt>
                <c:pt idx="106" formatCode="0.00">
                  <c:v>23.918989699121223</c:v>
                </c:pt>
                <c:pt idx="107" formatCode="0.00">
                  <c:v>23.916844763940162</c:v>
                </c:pt>
                <c:pt idx="108" formatCode="0.00">
                  <c:v>24.154589371980677</c:v>
                </c:pt>
                <c:pt idx="109" formatCode="0.00">
                  <c:v>24.153789192665197</c:v>
                </c:pt>
                <c:pt idx="110" formatCode="0.00">
                  <c:v>24.175589073333917</c:v>
                </c:pt>
                <c:pt idx="111" formatCode="0.00">
                  <c:v>24.186182100864833</c:v>
                </c:pt>
                <c:pt idx="112" formatCode="0.00">
                  <c:v>24.206056845942069</c:v>
                </c:pt>
                <c:pt idx="113" formatCode="0.00">
                  <c:v>24.15921668795232</c:v>
                </c:pt>
                <c:pt idx="114" formatCode="0.00">
                  <c:v>24.168366508444429</c:v>
                </c:pt>
                <c:pt idx="115" formatCode="0.00">
                  <c:v>24.255138145047468</c:v>
                </c:pt>
                <c:pt idx="116" formatCode="0.00">
                  <c:v>24.310429958659682</c:v>
                </c:pt>
                <c:pt idx="117" formatCode="0.00">
                  <c:v>24.391424753568177</c:v>
                </c:pt>
                <c:pt idx="118" formatCode="0.00">
                  <c:v>24.434616836176779</c:v>
                </c:pt>
                <c:pt idx="119" formatCode="0.00">
                  <c:v>24.444810320281249</c:v>
                </c:pt>
                <c:pt idx="120" formatCode="0.00">
                  <c:v>24.56778889899909</c:v>
                </c:pt>
                <c:pt idx="121" formatCode="0.00">
                  <c:v>24.583018538966698</c:v>
                </c:pt>
                <c:pt idx="122" formatCode="0.00">
                  <c:v>24.593886800475453</c:v>
                </c:pt>
                <c:pt idx="123" formatCode="0.00">
                  <c:v>24.58992708744691</c:v>
                </c:pt>
                <c:pt idx="124" formatCode="0.00">
                  <c:v>24.601594583417484</c:v>
                </c:pt>
                <c:pt idx="125" formatCode="0.00">
                  <c:v>24.593232541396688</c:v>
                </c:pt>
                <c:pt idx="126" formatCode="0.00">
                  <c:v>24.65025235563914</c:v>
                </c:pt>
                <c:pt idx="127" formatCode="0.00">
                  <c:v>24.642152260141415</c:v>
                </c:pt>
                <c:pt idx="128" formatCode="0.00">
                  <c:v>24.647314810386874</c:v>
                </c:pt>
                <c:pt idx="129" formatCode="0.00">
                  <c:v>24.707499093390339</c:v>
                </c:pt>
                <c:pt idx="130" formatCode="0.00">
                  <c:v>24.707610707267278</c:v>
                </c:pt>
                <c:pt idx="131" formatCode="0.00">
                  <c:v>24.681718198006038</c:v>
                </c:pt>
                <c:pt idx="132" formatCode="0.00">
                  <c:v>24.666059502125076</c:v>
                </c:pt>
                <c:pt idx="133" formatCode="0.00">
                  <c:v>24.685043099365352</c:v>
                </c:pt>
                <c:pt idx="134" formatCode="0.00">
                  <c:v>24.746000454924559</c:v>
                </c:pt>
                <c:pt idx="135" formatCode="0.00">
                  <c:v>24.748449084581633</c:v>
                </c:pt>
                <c:pt idx="136" formatCode="0.00">
                  <c:v>24.793310252189869</c:v>
                </c:pt>
                <c:pt idx="137" formatCode="0.00">
                  <c:v>24.816897415300289</c:v>
                </c:pt>
                <c:pt idx="138" formatCode="0.00">
                  <c:v>24.905047145745545</c:v>
                </c:pt>
                <c:pt idx="139" formatCode="0.00">
                  <c:v>24.864976954181707</c:v>
                </c:pt>
                <c:pt idx="140" formatCode="0.00">
                  <c:v>24.875341578161532</c:v>
                </c:pt>
                <c:pt idx="141" formatCode="0.00">
                  <c:v>24.838721776310855</c:v>
                </c:pt>
                <c:pt idx="142" formatCode="0.00">
                  <c:v>24.825649426632339</c:v>
                </c:pt>
                <c:pt idx="143" formatCode="0.00">
                  <c:v>24.873808188446436</c:v>
                </c:pt>
                <c:pt idx="144" formatCode="0.00">
                  <c:v>24.897077178144968</c:v>
                </c:pt>
                <c:pt idx="145" formatCode="0.00">
                  <c:v>24.854819976771196</c:v>
                </c:pt>
                <c:pt idx="146" formatCode="0.00">
                  <c:v>24.921829332788999</c:v>
                </c:pt>
                <c:pt idx="147" formatCode="0.00">
                  <c:v>24.928695781012706</c:v>
                </c:pt>
                <c:pt idx="148" formatCode="0.00">
                  <c:v>24.936918284916771</c:v>
                </c:pt>
                <c:pt idx="149" formatCode="0.00">
                  <c:v>24.954531606303725</c:v>
                </c:pt>
                <c:pt idx="150" formatCode="0.00">
                  <c:v>24.986856304823043</c:v>
                </c:pt>
                <c:pt idx="151" formatCode="0.00">
                  <c:v>25.068662328804997</c:v>
                </c:pt>
                <c:pt idx="152" formatCode="0.00">
                  <c:v>25.124611451378541</c:v>
                </c:pt>
                <c:pt idx="153" formatCode="0.00">
                  <c:v>25.118431199735593</c:v>
                </c:pt>
                <c:pt idx="154" formatCode="0.00">
                  <c:v>25.181473630114986</c:v>
                </c:pt>
                <c:pt idx="155" formatCode="0.00">
                  <c:v>25.286491545173455</c:v>
                </c:pt>
                <c:pt idx="156" formatCode="0.00">
                  <c:v>25.317268781486003</c:v>
                </c:pt>
                <c:pt idx="157" formatCode="0.00">
                  <c:v>25.378850347241311</c:v>
                </c:pt>
                <c:pt idx="158" formatCode="0.00">
                  <c:v>25.392213298246574</c:v>
                </c:pt>
                <c:pt idx="159" formatCode="0.00">
                  <c:v>25.286937511386409</c:v>
                </c:pt>
                <c:pt idx="160" formatCode="0.00">
                  <c:v>25.360471890474805</c:v>
                </c:pt>
                <c:pt idx="161" formatCode="0.00">
                  <c:v>25.41501796516123</c:v>
                </c:pt>
                <c:pt idx="162" formatCode="0.00">
                  <c:v>25.45097825494577</c:v>
                </c:pt>
                <c:pt idx="163" formatCode="0.00">
                  <c:v>25.542076780590563</c:v>
                </c:pt>
                <c:pt idx="164" formatCode="0.00">
                  <c:v>25.560989773789327</c:v>
                </c:pt>
                <c:pt idx="165" formatCode="0.00">
                  <c:v>25.574382148646567</c:v>
                </c:pt>
                <c:pt idx="166" formatCode="0.00">
                  <c:v>25.663308258425445</c:v>
                </c:pt>
                <c:pt idx="167" formatCode="0.00">
                  <c:v>25.619491402976447</c:v>
                </c:pt>
                <c:pt idx="168" formatCode="0.00">
                  <c:v>25.625540813383331</c:v>
                </c:pt>
                <c:pt idx="169" formatCode="0.00">
                  <c:v>25.70451066894751</c:v>
                </c:pt>
                <c:pt idx="170" formatCode="0.00">
                  <c:v>25.987150797661158</c:v>
                </c:pt>
                <c:pt idx="171" formatCode="0.00">
                  <c:v>27.22316463619293</c:v>
                </c:pt>
                <c:pt idx="172" formatCode="0.00">
                  <c:v>26.931755366868142</c:v>
                </c:pt>
                <c:pt idx="173" formatCode="0.00">
                  <c:v>26.520145197117728</c:v>
                </c:pt>
                <c:pt idx="174" formatCode="0.00">
                  <c:v>26.460314030538751</c:v>
                </c:pt>
                <c:pt idx="175" formatCode="0.00">
                  <c:v>26.460582886788558</c:v>
                </c:pt>
                <c:pt idx="176" formatCode="0.00">
                  <c:v>26.448531981041633</c:v>
                </c:pt>
                <c:pt idx="177" formatCode="0.00">
                  <c:v>26.458154198910862</c:v>
                </c:pt>
                <c:pt idx="178" formatCode="0.00">
                  <c:v>26.543442050400301</c:v>
                </c:pt>
                <c:pt idx="179" formatCode="0.00">
                  <c:v>26.678555506018725</c:v>
                </c:pt>
                <c:pt idx="180" formatCode="0.00">
                  <c:v>26.575948411394261</c:v>
                </c:pt>
                <c:pt idx="181" formatCode="0.00">
                  <c:v>26.60210161029028</c:v>
                </c:pt>
                <c:pt idx="182" formatCode="0.00">
                  <c:v>26.445015488594763</c:v>
                </c:pt>
                <c:pt idx="183" formatCode="0.00">
                  <c:v>26.436037045466481</c:v>
                </c:pt>
                <c:pt idx="184" formatCode="0.00">
                  <c:v>26.45903552547923</c:v>
                </c:pt>
                <c:pt idx="185" formatCode="0.00">
                  <c:v>26.442515893225245</c:v>
                </c:pt>
                <c:pt idx="186" formatCode="0.00">
                  <c:v>26.434224820236924</c:v>
                </c:pt>
                <c:pt idx="187" formatCode="0.00">
                  <c:v>26.433306997354951</c:v>
                </c:pt>
                <c:pt idx="188" formatCode="0.00">
                  <c:v>26.505033901787549</c:v>
                </c:pt>
                <c:pt idx="189" formatCode="0.00">
                  <c:v>26.506865056733542</c:v>
                </c:pt>
                <c:pt idx="190" formatCode="0.00">
                  <c:v>26.429780033840945</c:v>
                </c:pt>
                <c:pt idx="191" formatCode="0.00">
                  <c:v>26.438686985131397</c:v>
                </c:pt>
                <c:pt idx="192" formatCode="0.00">
                  <c:v>26.475487364923119</c:v>
                </c:pt>
                <c:pt idx="193" formatCode="0.00">
                  <c:v>26.319293048644511</c:v>
                </c:pt>
                <c:pt idx="194" formatCode="0.00">
                  <c:v>26.236183348307378</c:v>
                </c:pt>
                <c:pt idx="195" formatCode="0.00">
                  <c:v>26.274442058850145</c:v>
                </c:pt>
                <c:pt idx="196" formatCode="0.00">
                  <c:v>26.214227309893705</c:v>
                </c:pt>
                <c:pt idx="197" formatCode="0.00">
                  <c:v>26.054148584752902</c:v>
                </c:pt>
                <c:pt idx="198" formatCode="0.00">
                  <c:v>26.199988654505376</c:v>
                </c:pt>
                <c:pt idx="199" formatCode="0.00">
                  <c:v>26.210720289667659</c:v>
                </c:pt>
                <c:pt idx="200" formatCode="0.00">
                  <c:v>26.201330605538288</c:v>
                </c:pt>
                <c:pt idx="201" formatCode="0.00">
                  <c:v>26.195899772209565</c:v>
                </c:pt>
                <c:pt idx="202" formatCode="0.00">
                  <c:v>26.263321829784847</c:v>
                </c:pt>
                <c:pt idx="203" formatCode="0.00">
                  <c:v>26.306326463748892</c:v>
                </c:pt>
                <c:pt idx="204" formatCode="0.00">
                  <c:v>26.232581788137349</c:v>
                </c:pt>
                <c:pt idx="205" formatCode="0.00">
                  <c:v>26.227820025348542</c:v>
                </c:pt>
                <c:pt idx="206" formatCode="0.00">
                  <c:v>26.2689401432132</c:v>
                </c:pt>
                <c:pt idx="207" formatCode="0.00">
                  <c:v>26.299182784842078</c:v>
                </c:pt>
                <c:pt idx="208" formatCode="0.00">
                  <c:v>26.356430338654523</c:v>
                </c:pt>
                <c:pt idx="209" formatCode="0.00">
                  <c:v>26.420494755217263</c:v>
                </c:pt>
                <c:pt idx="210" formatCode="0.00">
                  <c:v>26.47416532621915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344-4FA3-8EAF-421664A37132}"/>
            </c:ext>
          </c:extLst>
        </c:ser>
        <c:ser>
          <c:idx val="0"/>
          <c:order val="1"/>
          <c:tx>
            <c:strRef>
              <c:f>'Real AHE'!$F$6</c:f>
              <c:strCache>
                <c:ptCount val="1"/>
                <c:pt idx="0">
                  <c:v>2016-19 Trend</c:v>
                </c:pt>
              </c:strCache>
            </c:strRef>
          </c:tx>
          <c:spPr>
            <a:ln w="28575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numRef>
              <c:f>'Real AHE'!$A$7:$A$222</c:f>
              <c:numCache>
                <c:formatCode>General</c:formatCode>
                <c:ptCount val="216"/>
                <c:pt idx="6">
                  <c:v>2006</c:v>
                </c:pt>
                <c:pt idx="18">
                  <c:v>2007</c:v>
                </c:pt>
                <c:pt idx="30">
                  <c:v>2008</c:v>
                </c:pt>
                <c:pt idx="42">
                  <c:v>2009</c:v>
                </c:pt>
                <c:pt idx="54">
                  <c:v>2010</c:v>
                </c:pt>
                <c:pt idx="66">
                  <c:v>2011</c:v>
                </c:pt>
                <c:pt idx="78">
                  <c:v>2012</c:v>
                </c:pt>
                <c:pt idx="90">
                  <c:v>2013</c:v>
                </c:pt>
                <c:pt idx="102">
                  <c:v>2014</c:v>
                </c:pt>
                <c:pt idx="114">
                  <c:v>2015</c:v>
                </c:pt>
                <c:pt idx="126">
                  <c:v>2016</c:v>
                </c:pt>
                <c:pt idx="138">
                  <c:v>2017</c:v>
                </c:pt>
                <c:pt idx="150">
                  <c:v>2018</c:v>
                </c:pt>
                <c:pt idx="162">
                  <c:v>2019</c:v>
                </c:pt>
                <c:pt idx="174">
                  <c:v>2020</c:v>
                </c:pt>
                <c:pt idx="186">
                  <c:v>2021</c:v>
                </c:pt>
                <c:pt idx="198">
                  <c:v>2022</c:v>
                </c:pt>
                <c:pt idx="210">
                  <c:v>2023</c:v>
                </c:pt>
              </c:numCache>
            </c:numRef>
          </c:cat>
          <c:val>
            <c:numRef>
              <c:f>'Real AHE'!$F$7:$F$222</c:f>
              <c:numCache>
                <c:formatCode>General</c:formatCode>
                <c:ptCount val="216"/>
                <c:pt idx="168" formatCode="0.00">
                  <c:v>25.644690284302392</c:v>
                </c:pt>
                <c:pt idx="169" formatCode="0.00">
                  <c:v>25.669913950804986</c:v>
                </c:pt>
                <c:pt idx="170" formatCode="0.00">
                  <c:v>25.695162426862492</c:v>
                </c:pt>
                <c:pt idx="171" formatCode="0.00">
                  <c:v>25.720435736877153</c:v>
                </c:pt>
                <c:pt idx="172" formatCode="0.00">
                  <c:v>25.745733905275213</c:v>
                </c:pt>
                <c:pt idx="173" formatCode="0.00">
                  <c:v>25.771056956506939</c:v>
                </c:pt>
                <c:pt idx="174" formatCode="0.00">
                  <c:v>25.796404915046654</c:v>
                </c:pt>
                <c:pt idx="175" formatCode="0.00">
                  <c:v>25.821777805392742</c:v>
                </c:pt>
                <c:pt idx="176" formatCode="0.00">
                  <c:v>25.847175652067694</c:v>
                </c:pt>
                <c:pt idx="177" formatCode="0.00">
                  <c:v>25.872598479618112</c:v>
                </c:pt>
                <c:pt idx="178" formatCode="0.00">
                  <c:v>25.898046312614749</c:v>
                </c:pt>
                <c:pt idx="179" formatCode="0.00">
                  <c:v>25.923519175652523</c:v>
                </c:pt>
                <c:pt idx="180" formatCode="0.00">
                  <c:v>25.949017093350538</c:v>
                </c:pt>
                <c:pt idx="181" formatCode="0.00">
                  <c:v>25.974540090352122</c:v>
                </c:pt>
                <c:pt idx="182" formatCode="0.00">
                  <c:v>26.000088191324835</c:v>
                </c:pt>
                <c:pt idx="183" formatCode="0.00">
                  <c:v>26.025661420960503</c:v>
                </c:pt>
                <c:pt idx="184" formatCode="0.00">
                  <c:v>26.051259803975235</c:v>
                </c:pt>
                <c:pt idx="185" formatCode="0.00">
                  <c:v>26.076883365109452</c:v>
                </c:pt>
                <c:pt idx="186" formatCode="0.00">
                  <c:v>26.102532129127912</c:v>
                </c:pt>
                <c:pt idx="187" formatCode="0.00">
                  <c:v>26.128206120819726</c:v>
                </c:pt>
                <c:pt idx="188" formatCode="0.00">
                  <c:v>26.153905364998394</c:v>
                </c:pt>
                <c:pt idx="189" formatCode="0.00">
                  <c:v>26.179629886501814</c:v>
                </c:pt>
                <c:pt idx="190" formatCode="0.00">
                  <c:v>26.205379710192322</c:v>
                </c:pt>
                <c:pt idx="191" formatCode="0.00">
                  <c:v>26.231154860956703</c:v>
                </c:pt>
                <c:pt idx="192" formatCode="0.00">
                  <c:v>26.256955363706222</c:v>
                </c:pt>
                <c:pt idx="193" formatCode="0.00">
                  <c:v>26.282781243376643</c:v>
                </c:pt>
                <c:pt idx="194" formatCode="0.00">
                  <c:v>26.308632524928264</c:v>
                </c:pt>
                <c:pt idx="195" formatCode="0.00">
                  <c:v>26.334509233345923</c:v>
                </c:pt>
                <c:pt idx="196" formatCode="0.00">
                  <c:v>26.360411393639044</c:v>
                </c:pt>
                <c:pt idx="197" formatCode="0.00">
                  <c:v>26.38633903084164</c:v>
                </c:pt>
                <c:pt idx="198" formatCode="0.00">
                  <c:v>26.412292170012353</c:v>
                </c:pt>
                <c:pt idx="199" formatCode="0.00">
                  <c:v>26.438270836234469</c:v>
                </c:pt>
                <c:pt idx="200" formatCode="0.00">
                  <c:v>26.46427505461595</c:v>
                </c:pt>
                <c:pt idx="201" formatCode="0.00">
                  <c:v>26.490304850289448</c:v>
                </c:pt>
                <c:pt idx="202" formatCode="0.00">
                  <c:v>26.51636024841234</c:v>
                </c:pt>
                <c:pt idx="203" formatCode="0.00">
                  <c:v>26.542441274166745</c:v>
                </c:pt>
                <c:pt idx="204" formatCode="0.00">
                  <c:v>26.568547952759548</c:v>
                </c:pt>
                <c:pt idx="205" formatCode="0.00">
                  <c:v>26.594680309422433</c:v>
                </c:pt>
                <c:pt idx="206" formatCode="0.00">
                  <c:v>26.620838369411896</c:v>
                </c:pt>
                <c:pt idx="207" formatCode="0.00">
                  <c:v>26.647022158009278</c:v>
                </c:pt>
                <c:pt idx="208" formatCode="0.00">
                  <c:v>26.673231700520788</c:v>
                </c:pt>
                <c:pt idx="209" formatCode="0.00">
                  <c:v>26.699467022277517</c:v>
                </c:pt>
                <c:pt idx="210" formatCode="0.00">
                  <c:v>26.72572814863548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344-4FA3-8EAF-421664A3713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2131370504"/>
        <c:axId val="2131374248"/>
      </c:lineChart>
      <c:catAx>
        <c:axId val="213137050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2700000" spcFirstLastPara="1" vertOverflow="ellipsis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1374248"/>
        <c:crosses val="autoZero"/>
        <c:auto val="1"/>
        <c:lblAlgn val="ctr"/>
        <c:lblOffset val="100"/>
        <c:tickMarkSkip val="12"/>
        <c:noMultiLvlLbl val="0"/>
      </c:catAx>
      <c:valAx>
        <c:axId val="2131374248"/>
        <c:scaling>
          <c:orientation val="minMax"/>
          <c:min val="22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2131370504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legend>
      <c:legendPos val="t"/>
      <c:legendEntry>
        <c:idx val="2"/>
        <c:delete val="1"/>
      </c:legendEntry>
      <c:layout>
        <c:manualLayout>
          <c:xMode val="edge"/>
          <c:yMode val="edge"/>
          <c:x val="0.81282263958911949"/>
          <c:y val="0.72808644934033317"/>
          <c:w val="0.13631935288399699"/>
          <c:h val="0.11787702697876548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Total nonfarm jobs, 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seasonally adjusted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7.5688813838007546E-2"/>
          <c:y val="2.7661252031032876E-3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7.4296648634403384E-2"/>
          <c:y val="8.0732761564655725E-2"/>
          <c:w val="0.87420173696002867"/>
          <c:h val="0.77375196850393702"/>
        </c:manualLayout>
      </c:layout>
      <c:lineChart>
        <c:grouping val="standard"/>
        <c:varyColors val="0"/>
        <c:ser>
          <c:idx val="0"/>
          <c:order val="0"/>
          <c:tx>
            <c:strRef>
              <c:f>'Job openings'!$B$1</c:f>
              <c:strCache>
                <c:ptCount val="1"/>
                <c:pt idx="0">
                  <c:v> Openings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trendline>
            <c:spPr>
              <a:ln w="25400" cap="rnd">
                <a:solidFill>
                  <a:schemeClr val="accent1"/>
                </a:solidFill>
                <a:prstDash val="sysDot"/>
              </a:ln>
              <a:effectLst/>
            </c:spPr>
            <c:trendlineType val="linear"/>
            <c:dispRSqr val="0"/>
            <c:dispEq val="0"/>
          </c:trendline>
          <c:cat>
            <c:strRef>
              <c:f>'Job openings'!$A$2:$A$214</c:f>
              <c:strCache>
                <c:ptCount val="212"/>
                <c:pt idx="0">
                  <c:v>2006</c:v>
                </c:pt>
                <c:pt idx="1">
                  <c:v>Feb-06</c:v>
                </c:pt>
                <c:pt idx="2">
                  <c:v>Mar-06</c:v>
                </c:pt>
                <c:pt idx="3">
                  <c:v>Apr-06</c:v>
                </c:pt>
                <c:pt idx="4">
                  <c:v>May-06</c:v>
                </c:pt>
                <c:pt idx="5">
                  <c:v>Jun-06</c:v>
                </c:pt>
                <c:pt idx="6">
                  <c:v>Jul-06</c:v>
                </c:pt>
                <c:pt idx="7">
                  <c:v>Aug-06</c:v>
                </c:pt>
                <c:pt idx="8">
                  <c:v>Sep-06</c:v>
                </c:pt>
                <c:pt idx="9">
                  <c:v>Oct-06</c:v>
                </c:pt>
                <c:pt idx="10">
                  <c:v>Nov-06</c:v>
                </c:pt>
                <c:pt idx="11">
                  <c:v>Dec-06</c:v>
                </c:pt>
                <c:pt idx="12">
                  <c:v>2007</c:v>
                </c:pt>
                <c:pt idx="13">
                  <c:v>Feb-07</c:v>
                </c:pt>
                <c:pt idx="14">
                  <c:v>Mar-07</c:v>
                </c:pt>
                <c:pt idx="15">
                  <c:v>Apr-07</c:v>
                </c:pt>
                <c:pt idx="16">
                  <c:v>May-07</c:v>
                </c:pt>
                <c:pt idx="17">
                  <c:v>Jun-07</c:v>
                </c:pt>
                <c:pt idx="18">
                  <c:v>Jul-07</c:v>
                </c:pt>
                <c:pt idx="19">
                  <c:v>Aug-07</c:v>
                </c:pt>
                <c:pt idx="20">
                  <c:v>Sep-07</c:v>
                </c:pt>
                <c:pt idx="21">
                  <c:v>Oct-07</c:v>
                </c:pt>
                <c:pt idx="22">
                  <c:v>Nov-07</c:v>
                </c:pt>
                <c:pt idx="23">
                  <c:v>Dec-07</c:v>
                </c:pt>
                <c:pt idx="24">
                  <c:v>2008</c:v>
                </c:pt>
                <c:pt idx="25">
                  <c:v>Feb-08</c:v>
                </c:pt>
                <c:pt idx="26">
                  <c:v>Mar-08</c:v>
                </c:pt>
                <c:pt idx="27">
                  <c:v>Apr-08</c:v>
                </c:pt>
                <c:pt idx="28">
                  <c:v>May-08</c:v>
                </c:pt>
                <c:pt idx="29">
                  <c:v>Jun-08</c:v>
                </c:pt>
                <c:pt idx="30">
                  <c:v>Jul-08</c:v>
                </c:pt>
                <c:pt idx="31">
                  <c:v>Aug-08</c:v>
                </c:pt>
                <c:pt idx="32">
                  <c:v>Sep-08</c:v>
                </c:pt>
                <c:pt idx="33">
                  <c:v>Oct-08</c:v>
                </c:pt>
                <c:pt idx="34">
                  <c:v>Nov-08</c:v>
                </c:pt>
                <c:pt idx="35">
                  <c:v>Dec-08</c:v>
                </c:pt>
                <c:pt idx="36">
                  <c:v>2009</c:v>
                </c:pt>
                <c:pt idx="37">
                  <c:v>Feb-09</c:v>
                </c:pt>
                <c:pt idx="38">
                  <c:v>Mar-09</c:v>
                </c:pt>
                <c:pt idx="39">
                  <c:v>Apr-09</c:v>
                </c:pt>
                <c:pt idx="40">
                  <c:v>May-09</c:v>
                </c:pt>
                <c:pt idx="41">
                  <c:v>Jun-09</c:v>
                </c:pt>
                <c:pt idx="42">
                  <c:v>Jul-09</c:v>
                </c:pt>
                <c:pt idx="43">
                  <c:v>Aug-09</c:v>
                </c:pt>
                <c:pt idx="44">
                  <c:v>Sep-09</c:v>
                </c:pt>
                <c:pt idx="45">
                  <c:v>Oct-09</c:v>
                </c:pt>
                <c:pt idx="46">
                  <c:v>Nov-09</c:v>
                </c:pt>
                <c:pt idx="47">
                  <c:v>Dec-09</c:v>
                </c:pt>
                <c:pt idx="48">
                  <c:v>2010</c:v>
                </c:pt>
                <c:pt idx="49">
                  <c:v>Feb-10</c:v>
                </c:pt>
                <c:pt idx="50">
                  <c:v>Mar-10</c:v>
                </c:pt>
                <c:pt idx="51">
                  <c:v>Apr-10</c:v>
                </c:pt>
                <c:pt idx="52">
                  <c:v>May-10</c:v>
                </c:pt>
                <c:pt idx="53">
                  <c:v>Jun-10</c:v>
                </c:pt>
                <c:pt idx="54">
                  <c:v>Jul-10</c:v>
                </c:pt>
                <c:pt idx="55">
                  <c:v>Aug-10</c:v>
                </c:pt>
                <c:pt idx="56">
                  <c:v>Sep-10</c:v>
                </c:pt>
                <c:pt idx="57">
                  <c:v>Oct-10</c:v>
                </c:pt>
                <c:pt idx="58">
                  <c:v>Nov-10</c:v>
                </c:pt>
                <c:pt idx="59">
                  <c:v>Dec-10</c:v>
                </c:pt>
                <c:pt idx="60">
                  <c:v>2011</c:v>
                </c:pt>
                <c:pt idx="61">
                  <c:v>Feb-11</c:v>
                </c:pt>
                <c:pt idx="62">
                  <c:v>Mar-11</c:v>
                </c:pt>
                <c:pt idx="63">
                  <c:v>Apr-11</c:v>
                </c:pt>
                <c:pt idx="64">
                  <c:v>May-11</c:v>
                </c:pt>
                <c:pt idx="65">
                  <c:v>Jun-11</c:v>
                </c:pt>
                <c:pt idx="66">
                  <c:v>Jul-11</c:v>
                </c:pt>
                <c:pt idx="67">
                  <c:v>Aug-11</c:v>
                </c:pt>
                <c:pt idx="68">
                  <c:v>Sep-11</c:v>
                </c:pt>
                <c:pt idx="69">
                  <c:v>Oct-11</c:v>
                </c:pt>
                <c:pt idx="70">
                  <c:v>Nov-11</c:v>
                </c:pt>
                <c:pt idx="71">
                  <c:v>Dec-11</c:v>
                </c:pt>
                <c:pt idx="72">
                  <c:v>2012</c:v>
                </c:pt>
                <c:pt idx="73">
                  <c:v>Feb-12</c:v>
                </c:pt>
                <c:pt idx="74">
                  <c:v>Mar-12</c:v>
                </c:pt>
                <c:pt idx="75">
                  <c:v>Apr-12</c:v>
                </c:pt>
                <c:pt idx="76">
                  <c:v>May-12</c:v>
                </c:pt>
                <c:pt idx="77">
                  <c:v>Jun-12</c:v>
                </c:pt>
                <c:pt idx="78">
                  <c:v>Jul-12</c:v>
                </c:pt>
                <c:pt idx="79">
                  <c:v>Aug-12</c:v>
                </c:pt>
                <c:pt idx="80">
                  <c:v>Sep-12</c:v>
                </c:pt>
                <c:pt idx="81">
                  <c:v>Oct-12</c:v>
                </c:pt>
                <c:pt idx="82">
                  <c:v>Nov-12</c:v>
                </c:pt>
                <c:pt idx="83">
                  <c:v>Dec-12</c:v>
                </c:pt>
                <c:pt idx="84">
                  <c:v>2013</c:v>
                </c:pt>
                <c:pt idx="85">
                  <c:v>Feb-13</c:v>
                </c:pt>
                <c:pt idx="86">
                  <c:v>Mar-13</c:v>
                </c:pt>
                <c:pt idx="87">
                  <c:v>Apr-13</c:v>
                </c:pt>
                <c:pt idx="88">
                  <c:v>May-13</c:v>
                </c:pt>
                <c:pt idx="89">
                  <c:v>Jun-13</c:v>
                </c:pt>
                <c:pt idx="90">
                  <c:v>Jul-13</c:v>
                </c:pt>
                <c:pt idx="91">
                  <c:v>Aug-13</c:v>
                </c:pt>
                <c:pt idx="92">
                  <c:v>Sep-13</c:v>
                </c:pt>
                <c:pt idx="93">
                  <c:v>Oct-13</c:v>
                </c:pt>
                <c:pt idx="94">
                  <c:v>Nov-13</c:v>
                </c:pt>
                <c:pt idx="95">
                  <c:v>Dec-13</c:v>
                </c:pt>
                <c:pt idx="96">
                  <c:v>2014</c:v>
                </c:pt>
                <c:pt idx="97">
                  <c:v>Feb-14</c:v>
                </c:pt>
                <c:pt idx="98">
                  <c:v>Mar-14</c:v>
                </c:pt>
                <c:pt idx="99">
                  <c:v>Apr-14</c:v>
                </c:pt>
                <c:pt idx="100">
                  <c:v>May-14</c:v>
                </c:pt>
                <c:pt idx="101">
                  <c:v>Jun-14</c:v>
                </c:pt>
                <c:pt idx="102">
                  <c:v>Jul-14</c:v>
                </c:pt>
                <c:pt idx="103">
                  <c:v>Aug-14</c:v>
                </c:pt>
                <c:pt idx="104">
                  <c:v>Sep-14</c:v>
                </c:pt>
                <c:pt idx="105">
                  <c:v>Oct-14</c:v>
                </c:pt>
                <c:pt idx="106">
                  <c:v>Nov-14</c:v>
                </c:pt>
                <c:pt idx="107">
                  <c:v>Dec-14</c:v>
                </c:pt>
                <c:pt idx="108">
                  <c:v>2015</c:v>
                </c:pt>
                <c:pt idx="109">
                  <c:v>Feb-15</c:v>
                </c:pt>
                <c:pt idx="110">
                  <c:v>Mar-15</c:v>
                </c:pt>
                <c:pt idx="111">
                  <c:v>Apr-15</c:v>
                </c:pt>
                <c:pt idx="112">
                  <c:v>May-15</c:v>
                </c:pt>
                <c:pt idx="113">
                  <c:v>Jun-15</c:v>
                </c:pt>
                <c:pt idx="114">
                  <c:v>Jul-15</c:v>
                </c:pt>
                <c:pt idx="115">
                  <c:v>Aug-15</c:v>
                </c:pt>
                <c:pt idx="116">
                  <c:v>Sep-15</c:v>
                </c:pt>
                <c:pt idx="117">
                  <c:v>Oct-15</c:v>
                </c:pt>
                <c:pt idx="118">
                  <c:v>Nov-15</c:v>
                </c:pt>
                <c:pt idx="119">
                  <c:v>Dec-15</c:v>
                </c:pt>
                <c:pt idx="120">
                  <c:v>2016</c:v>
                </c:pt>
                <c:pt idx="121">
                  <c:v>Feb-16</c:v>
                </c:pt>
                <c:pt idx="122">
                  <c:v>Mar-16</c:v>
                </c:pt>
                <c:pt idx="123">
                  <c:v>Apr-16</c:v>
                </c:pt>
                <c:pt idx="124">
                  <c:v>May-16</c:v>
                </c:pt>
                <c:pt idx="125">
                  <c:v>Jun-16</c:v>
                </c:pt>
                <c:pt idx="126">
                  <c:v>Jul-16</c:v>
                </c:pt>
                <c:pt idx="127">
                  <c:v>Aug-16</c:v>
                </c:pt>
                <c:pt idx="128">
                  <c:v>Sep-16</c:v>
                </c:pt>
                <c:pt idx="129">
                  <c:v>Oct-16</c:v>
                </c:pt>
                <c:pt idx="130">
                  <c:v>Nov-16</c:v>
                </c:pt>
                <c:pt idx="131">
                  <c:v>Dec-16</c:v>
                </c:pt>
                <c:pt idx="132">
                  <c:v>2017</c:v>
                </c:pt>
                <c:pt idx="133">
                  <c:v>Feb-17</c:v>
                </c:pt>
                <c:pt idx="134">
                  <c:v>Mar-17</c:v>
                </c:pt>
                <c:pt idx="135">
                  <c:v>Apr-17</c:v>
                </c:pt>
                <c:pt idx="136">
                  <c:v>May-17</c:v>
                </c:pt>
                <c:pt idx="137">
                  <c:v>Jun-17</c:v>
                </c:pt>
                <c:pt idx="138">
                  <c:v>Jul-17</c:v>
                </c:pt>
                <c:pt idx="139">
                  <c:v>Aug-17</c:v>
                </c:pt>
                <c:pt idx="140">
                  <c:v>Sep-17</c:v>
                </c:pt>
                <c:pt idx="141">
                  <c:v>Oct-17</c:v>
                </c:pt>
                <c:pt idx="142">
                  <c:v>Nov-17</c:v>
                </c:pt>
                <c:pt idx="143">
                  <c:v>Dec-17</c:v>
                </c:pt>
                <c:pt idx="144">
                  <c:v>2018</c:v>
                </c:pt>
                <c:pt idx="145">
                  <c:v>Feb-18</c:v>
                </c:pt>
                <c:pt idx="146">
                  <c:v>Mar-18</c:v>
                </c:pt>
                <c:pt idx="147">
                  <c:v>Apr-18</c:v>
                </c:pt>
                <c:pt idx="148">
                  <c:v>May-18</c:v>
                </c:pt>
                <c:pt idx="149">
                  <c:v>Jun-18</c:v>
                </c:pt>
                <c:pt idx="150">
                  <c:v>Jul-18</c:v>
                </c:pt>
                <c:pt idx="151">
                  <c:v>Aug-18</c:v>
                </c:pt>
                <c:pt idx="152">
                  <c:v>Sep-18</c:v>
                </c:pt>
                <c:pt idx="153">
                  <c:v>Oct-18</c:v>
                </c:pt>
                <c:pt idx="154">
                  <c:v>Nov-18</c:v>
                </c:pt>
                <c:pt idx="155">
                  <c:v>Dec-18</c:v>
                </c:pt>
                <c:pt idx="156">
                  <c:v>2019</c:v>
                </c:pt>
                <c:pt idx="157">
                  <c:v>Feb-19</c:v>
                </c:pt>
                <c:pt idx="158">
                  <c:v>Mar-19</c:v>
                </c:pt>
                <c:pt idx="159">
                  <c:v>Apr-19</c:v>
                </c:pt>
                <c:pt idx="160">
                  <c:v>May-19</c:v>
                </c:pt>
                <c:pt idx="161">
                  <c:v>Jun-19</c:v>
                </c:pt>
                <c:pt idx="162">
                  <c:v>Jul-19</c:v>
                </c:pt>
                <c:pt idx="163">
                  <c:v>Aug-19</c:v>
                </c:pt>
                <c:pt idx="164">
                  <c:v>Sep-19</c:v>
                </c:pt>
                <c:pt idx="165">
                  <c:v>Oct-19</c:v>
                </c:pt>
                <c:pt idx="166">
                  <c:v>Nov-19</c:v>
                </c:pt>
                <c:pt idx="167">
                  <c:v>Dec-19</c:v>
                </c:pt>
                <c:pt idx="168">
                  <c:v>2020</c:v>
                </c:pt>
                <c:pt idx="169">
                  <c:v>Feb-20</c:v>
                </c:pt>
                <c:pt idx="170">
                  <c:v>Mar-20</c:v>
                </c:pt>
                <c:pt idx="171">
                  <c:v>Apr-20</c:v>
                </c:pt>
                <c:pt idx="172">
                  <c:v>May-20</c:v>
                </c:pt>
                <c:pt idx="173">
                  <c:v>Jun-20</c:v>
                </c:pt>
                <c:pt idx="174">
                  <c:v>Jul-20</c:v>
                </c:pt>
                <c:pt idx="175">
                  <c:v>Aug-20</c:v>
                </c:pt>
                <c:pt idx="176">
                  <c:v>Sep-20</c:v>
                </c:pt>
                <c:pt idx="177">
                  <c:v>Oct-20</c:v>
                </c:pt>
                <c:pt idx="178">
                  <c:v>Nov-20</c:v>
                </c:pt>
                <c:pt idx="179">
                  <c:v>Dec-20</c:v>
                </c:pt>
                <c:pt idx="180">
                  <c:v>2021</c:v>
                </c:pt>
                <c:pt idx="181">
                  <c:v>Feb-21</c:v>
                </c:pt>
                <c:pt idx="182">
                  <c:v>Mar-21</c:v>
                </c:pt>
                <c:pt idx="183">
                  <c:v>Apr-21</c:v>
                </c:pt>
                <c:pt idx="184">
                  <c:v>May-21</c:v>
                </c:pt>
                <c:pt idx="185">
                  <c:v>Jun-21</c:v>
                </c:pt>
                <c:pt idx="186">
                  <c:v>Jul-21</c:v>
                </c:pt>
                <c:pt idx="187">
                  <c:v>Aug-21</c:v>
                </c:pt>
                <c:pt idx="188">
                  <c:v>Sep-21</c:v>
                </c:pt>
                <c:pt idx="189">
                  <c:v>Oct-21</c:v>
                </c:pt>
                <c:pt idx="190">
                  <c:v>Nov-21</c:v>
                </c:pt>
                <c:pt idx="191">
                  <c:v>Dec-21</c:v>
                </c:pt>
                <c:pt idx="192">
                  <c:v>2022</c:v>
                </c:pt>
                <c:pt idx="193">
                  <c:v>Feb-22</c:v>
                </c:pt>
                <c:pt idx="194">
                  <c:v>Mar-22</c:v>
                </c:pt>
                <c:pt idx="195">
                  <c:v>Apr-22</c:v>
                </c:pt>
                <c:pt idx="196">
                  <c:v>May-22</c:v>
                </c:pt>
                <c:pt idx="197">
                  <c:v>Jun-22</c:v>
                </c:pt>
                <c:pt idx="198">
                  <c:v>Jul-22</c:v>
                </c:pt>
                <c:pt idx="199">
                  <c:v>Aug-22</c:v>
                </c:pt>
                <c:pt idx="200">
                  <c:v>Sep-22</c:v>
                </c:pt>
                <c:pt idx="201">
                  <c:v>Oct-22</c:v>
                </c:pt>
                <c:pt idx="202">
                  <c:v>Nov-22</c:v>
                </c:pt>
                <c:pt idx="203">
                  <c:v>Dec-22</c:v>
                </c:pt>
                <c:pt idx="204">
                  <c:v>2023</c:v>
                </c:pt>
                <c:pt idx="205">
                  <c:v>Feb-23</c:v>
                </c:pt>
                <c:pt idx="206">
                  <c:v>Mar-23</c:v>
                </c:pt>
                <c:pt idx="207">
                  <c:v>Apr-23</c:v>
                </c:pt>
                <c:pt idx="208">
                  <c:v>May-23</c:v>
                </c:pt>
                <c:pt idx="209">
                  <c:v>Jun-23</c:v>
                </c:pt>
                <c:pt idx="210">
                  <c:v>Jul-23</c:v>
                </c:pt>
                <c:pt idx="211">
                  <c:v>Aug-23</c:v>
                </c:pt>
              </c:strCache>
            </c:strRef>
          </c:cat>
          <c:val>
            <c:numRef>
              <c:f>'Job openings'!$B$2:$B$214</c:f>
              <c:numCache>
                <c:formatCode>0.0</c:formatCode>
                <c:ptCount val="213"/>
                <c:pt idx="0">
                  <c:v>4397</c:v>
                </c:pt>
                <c:pt idx="1">
                  <c:v>4325</c:v>
                </c:pt>
                <c:pt idx="2">
                  <c:v>4732</c:v>
                </c:pt>
                <c:pt idx="3">
                  <c:v>4790</c:v>
                </c:pt>
                <c:pt idx="4">
                  <c:v>4463</c:v>
                </c:pt>
                <c:pt idx="5">
                  <c:v>4614</c:v>
                </c:pt>
                <c:pt idx="6">
                  <c:v>4394</c:v>
                </c:pt>
                <c:pt idx="7">
                  <c:v>4710</c:v>
                </c:pt>
                <c:pt idx="8">
                  <c:v>4737</c:v>
                </c:pt>
                <c:pt idx="9">
                  <c:v>4591</c:v>
                </c:pt>
                <c:pt idx="10">
                  <c:v>4645</c:v>
                </c:pt>
                <c:pt idx="11">
                  <c:v>4620</c:v>
                </c:pt>
                <c:pt idx="12">
                  <c:v>4763</c:v>
                </c:pt>
                <c:pt idx="13">
                  <c:v>4699</c:v>
                </c:pt>
                <c:pt idx="14">
                  <c:v>4962</c:v>
                </c:pt>
                <c:pt idx="15">
                  <c:v>4689</c:v>
                </c:pt>
                <c:pt idx="16">
                  <c:v>4657</c:v>
                </c:pt>
                <c:pt idx="17">
                  <c:v>4859</c:v>
                </c:pt>
                <c:pt idx="18">
                  <c:v>4598</c:v>
                </c:pt>
                <c:pt idx="19">
                  <c:v>4546</c:v>
                </c:pt>
                <c:pt idx="20">
                  <c:v>4652</c:v>
                </c:pt>
                <c:pt idx="21">
                  <c:v>4636</c:v>
                </c:pt>
                <c:pt idx="22">
                  <c:v>4646</c:v>
                </c:pt>
                <c:pt idx="23">
                  <c:v>4545</c:v>
                </c:pt>
                <c:pt idx="24">
                  <c:v>4624</c:v>
                </c:pt>
                <c:pt idx="25">
                  <c:v>4279</c:v>
                </c:pt>
                <c:pt idx="26">
                  <c:v>4225</c:v>
                </c:pt>
                <c:pt idx="27">
                  <c:v>4035</c:v>
                </c:pt>
                <c:pt idx="28">
                  <c:v>4194</c:v>
                </c:pt>
                <c:pt idx="29">
                  <c:v>3830</c:v>
                </c:pt>
                <c:pt idx="30">
                  <c:v>3749</c:v>
                </c:pt>
                <c:pt idx="31">
                  <c:v>3674</c:v>
                </c:pt>
                <c:pt idx="32">
                  <c:v>3222</c:v>
                </c:pt>
                <c:pt idx="33">
                  <c:v>3377</c:v>
                </c:pt>
                <c:pt idx="34">
                  <c:v>3231</c:v>
                </c:pt>
                <c:pt idx="35">
                  <c:v>3146</c:v>
                </c:pt>
                <c:pt idx="36">
                  <c:v>2738</c:v>
                </c:pt>
                <c:pt idx="37">
                  <c:v>2864</c:v>
                </c:pt>
                <c:pt idx="38">
                  <c:v>2534</c:v>
                </c:pt>
                <c:pt idx="39">
                  <c:v>2295</c:v>
                </c:pt>
                <c:pt idx="40">
                  <c:v>2549</c:v>
                </c:pt>
                <c:pt idx="41">
                  <c:v>2503</c:v>
                </c:pt>
                <c:pt idx="42">
                  <c:v>2232</c:v>
                </c:pt>
                <c:pt idx="43">
                  <c:v>2338</c:v>
                </c:pt>
                <c:pt idx="44">
                  <c:v>2487</c:v>
                </c:pt>
                <c:pt idx="45">
                  <c:v>2406</c:v>
                </c:pt>
                <c:pt idx="46">
                  <c:v>2503</c:v>
                </c:pt>
                <c:pt idx="47">
                  <c:v>2568</c:v>
                </c:pt>
                <c:pt idx="48">
                  <c:v>2837</c:v>
                </c:pt>
                <c:pt idx="49">
                  <c:v>2666</c:v>
                </c:pt>
                <c:pt idx="50">
                  <c:v>2679</c:v>
                </c:pt>
                <c:pt idx="51">
                  <c:v>3153</c:v>
                </c:pt>
                <c:pt idx="52">
                  <c:v>2988</c:v>
                </c:pt>
                <c:pt idx="53">
                  <c:v>2801</c:v>
                </c:pt>
                <c:pt idx="54">
                  <c:v>3082</c:v>
                </c:pt>
                <c:pt idx="55">
                  <c:v>2999</c:v>
                </c:pt>
                <c:pt idx="56">
                  <c:v>2918</c:v>
                </c:pt>
                <c:pt idx="57">
                  <c:v>3235</c:v>
                </c:pt>
                <c:pt idx="58">
                  <c:v>3211</c:v>
                </c:pt>
                <c:pt idx="59">
                  <c:v>3058</c:v>
                </c:pt>
                <c:pt idx="60">
                  <c:v>3104</c:v>
                </c:pt>
                <c:pt idx="61">
                  <c:v>3226</c:v>
                </c:pt>
                <c:pt idx="62">
                  <c:v>3261</c:v>
                </c:pt>
                <c:pt idx="63">
                  <c:v>3259</c:v>
                </c:pt>
                <c:pt idx="64">
                  <c:v>3179</c:v>
                </c:pt>
                <c:pt idx="65">
                  <c:v>3455</c:v>
                </c:pt>
                <c:pt idx="66">
                  <c:v>3623</c:v>
                </c:pt>
                <c:pt idx="67">
                  <c:v>3329</c:v>
                </c:pt>
                <c:pt idx="68">
                  <c:v>3774</c:v>
                </c:pt>
                <c:pt idx="69">
                  <c:v>3619</c:v>
                </c:pt>
                <c:pt idx="70">
                  <c:v>3565</c:v>
                </c:pt>
                <c:pt idx="71">
                  <c:v>3768</c:v>
                </c:pt>
                <c:pt idx="72">
                  <c:v>3909</c:v>
                </c:pt>
                <c:pt idx="73">
                  <c:v>3616</c:v>
                </c:pt>
                <c:pt idx="74">
                  <c:v>3979</c:v>
                </c:pt>
                <c:pt idx="75">
                  <c:v>3793</c:v>
                </c:pt>
                <c:pt idx="76">
                  <c:v>3835</c:v>
                </c:pt>
                <c:pt idx="77">
                  <c:v>3911</c:v>
                </c:pt>
                <c:pt idx="78">
                  <c:v>3735</c:v>
                </c:pt>
                <c:pt idx="79">
                  <c:v>3809</c:v>
                </c:pt>
                <c:pt idx="80">
                  <c:v>3882</c:v>
                </c:pt>
                <c:pt idx="81">
                  <c:v>3775</c:v>
                </c:pt>
                <c:pt idx="82">
                  <c:v>3878</c:v>
                </c:pt>
                <c:pt idx="83">
                  <c:v>3970</c:v>
                </c:pt>
                <c:pt idx="84">
                  <c:v>3923</c:v>
                </c:pt>
                <c:pt idx="85">
                  <c:v>4004</c:v>
                </c:pt>
                <c:pt idx="86">
                  <c:v>4076</c:v>
                </c:pt>
                <c:pt idx="87">
                  <c:v>3988</c:v>
                </c:pt>
                <c:pt idx="88">
                  <c:v>4145</c:v>
                </c:pt>
                <c:pt idx="89">
                  <c:v>4150</c:v>
                </c:pt>
                <c:pt idx="90">
                  <c:v>3885</c:v>
                </c:pt>
                <c:pt idx="91">
                  <c:v>4085</c:v>
                </c:pt>
                <c:pt idx="92">
                  <c:v>4128</c:v>
                </c:pt>
                <c:pt idx="93">
                  <c:v>4222</c:v>
                </c:pt>
                <c:pt idx="94">
                  <c:v>4119</c:v>
                </c:pt>
                <c:pt idx="95">
                  <c:v>4121</c:v>
                </c:pt>
                <c:pt idx="96">
                  <c:v>4127</c:v>
                </c:pt>
                <c:pt idx="97">
                  <c:v>4373</c:v>
                </c:pt>
                <c:pt idx="98">
                  <c:v>4388</c:v>
                </c:pt>
                <c:pt idx="99">
                  <c:v>4566</c:v>
                </c:pt>
                <c:pt idx="100">
                  <c:v>4747</c:v>
                </c:pt>
                <c:pt idx="101">
                  <c:v>4982</c:v>
                </c:pt>
                <c:pt idx="102">
                  <c:v>4846</c:v>
                </c:pt>
                <c:pt idx="103">
                  <c:v>5349</c:v>
                </c:pt>
                <c:pt idx="104">
                  <c:v>4914</c:v>
                </c:pt>
                <c:pt idx="105">
                  <c:v>5012</c:v>
                </c:pt>
                <c:pt idx="106">
                  <c:v>4843</c:v>
                </c:pt>
                <c:pt idx="107">
                  <c:v>5130</c:v>
                </c:pt>
                <c:pt idx="108">
                  <c:v>5344</c:v>
                </c:pt>
                <c:pt idx="109">
                  <c:v>5466</c:v>
                </c:pt>
                <c:pt idx="110">
                  <c:v>5210</c:v>
                </c:pt>
                <c:pt idx="111">
                  <c:v>5598</c:v>
                </c:pt>
                <c:pt idx="112">
                  <c:v>5563</c:v>
                </c:pt>
                <c:pt idx="113">
                  <c:v>5248</c:v>
                </c:pt>
                <c:pt idx="114">
                  <c:v>6056</c:v>
                </c:pt>
                <c:pt idx="115">
                  <c:v>5467</c:v>
                </c:pt>
                <c:pt idx="116">
                  <c:v>5488</c:v>
                </c:pt>
                <c:pt idx="117">
                  <c:v>5773</c:v>
                </c:pt>
                <c:pt idx="118">
                  <c:v>5708</c:v>
                </c:pt>
                <c:pt idx="119">
                  <c:v>5845</c:v>
                </c:pt>
                <c:pt idx="120">
                  <c:v>6012</c:v>
                </c:pt>
                <c:pt idx="121">
                  <c:v>5770</c:v>
                </c:pt>
                <c:pt idx="122">
                  <c:v>6129</c:v>
                </c:pt>
                <c:pt idx="123">
                  <c:v>5803</c:v>
                </c:pt>
                <c:pt idx="124">
                  <c:v>5777</c:v>
                </c:pt>
                <c:pt idx="125">
                  <c:v>5742</c:v>
                </c:pt>
                <c:pt idx="126">
                  <c:v>5962</c:v>
                </c:pt>
                <c:pt idx="127">
                  <c:v>5677</c:v>
                </c:pt>
                <c:pt idx="128">
                  <c:v>5868</c:v>
                </c:pt>
                <c:pt idx="129">
                  <c:v>5591</c:v>
                </c:pt>
                <c:pt idx="130">
                  <c:v>5971</c:v>
                </c:pt>
                <c:pt idx="131">
                  <c:v>5964</c:v>
                </c:pt>
                <c:pt idx="132">
                  <c:v>5617</c:v>
                </c:pt>
                <c:pt idx="133">
                  <c:v>5923</c:v>
                </c:pt>
                <c:pt idx="134">
                  <c:v>5811</c:v>
                </c:pt>
                <c:pt idx="135">
                  <c:v>6091</c:v>
                </c:pt>
                <c:pt idx="136">
                  <c:v>5826</c:v>
                </c:pt>
                <c:pt idx="137">
                  <c:v>6305</c:v>
                </c:pt>
                <c:pt idx="138">
                  <c:v>6238</c:v>
                </c:pt>
                <c:pt idx="139">
                  <c:v>6276</c:v>
                </c:pt>
                <c:pt idx="140">
                  <c:v>6320</c:v>
                </c:pt>
                <c:pt idx="141">
                  <c:v>6408</c:v>
                </c:pt>
                <c:pt idx="142">
                  <c:v>6271</c:v>
                </c:pt>
                <c:pt idx="143">
                  <c:v>6336</c:v>
                </c:pt>
                <c:pt idx="144">
                  <c:v>6621</c:v>
                </c:pt>
                <c:pt idx="145">
                  <c:v>6552</c:v>
                </c:pt>
                <c:pt idx="146">
                  <c:v>6818</c:v>
                </c:pt>
                <c:pt idx="147">
                  <c:v>6877</c:v>
                </c:pt>
                <c:pt idx="148">
                  <c:v>7016</c:v>
                </c:pt>
                <c:pt idx="149">
                  <c:v>7230</c:v>
                </c:pt>
                <c:pt idx="150">
                  <c:v>7190</c:v>
                </c:pt>
                <c:pt idx="151">
                  <c:v>7208</c:v>
                </c:pt>
                <c:pt idx="152">
                  <c:v>7411</c:v>
                </c:pt>
                <c:pt idx="153">
                  <c:v>7304</c:v>
                </c:pt>
                <c:pt idx="154">
                  <c:v>7594</c:v>
                </c:pt>
                <c:pt idx="155">
                  <c:v>7489</c:v>
                </c:pt>
                <c:pt idx="156">
                  <c:v>7517</c:v>
                </c:pt>
                <c:pt idx="157">
                  <c:v>7072</c:v>
                </c:pt>
                <c:pt idx="158">
                  <c:v>7337</c:v>
                </c:pt>
                <c:pt idx="159">
                  <c:v>7191</c:v>
                </c:pt>
                <c:pt idx="160">
                  <c:v>7311</c:v>
                </c:pt>
                <c:pt idx="161">
                  <c:v>7139</c:v>
                </c:pt>
                <c:pt idx="162">
                  <c:v>7051</c:v>
                </c:pt>
                <c:pt idx="163">
                  <c:v>7172</c:v>
                </c:pt>
                <c:pt idx="164">
                  <c:v>7160</c:v>
                </c:pt>
                <c:pt idx="165">
                  <c:v>7325</c:v>
                </c:pt>
                <c:pt idx="166">
                  <c:v>6919</c:v>
                </c:pt>
                <c:pt idx="167">
                  <c:v>6709</c:v>
                </c:pt>
                <c:pt idx="168">
                  <c:v>7184</c:v>
                </c:pt>
                <c:pt idx="169">
                  <c:v>6995</c:v>
                </c:pt>
                <c:pt idx="170">
                  <c:v>5794</c:v>
                </c:pt>
                <c:pt idx="171">
                  <c:v>4686</c:v>
                </c:pt>
                <c:pt idx="172">
                  <c:v>5581</c:v>
                </c:pt>
                <c:pt idx="173">
                  <c:v>6119</c:v>
                </c:pt>
                <c:pt idx="174">
                  <c:v>6514</c:v>
                </c:pt>
                <c:pt idx="175">
                  <c:v>6360</c:v>
                </c:pt>
                <c:pt idx="176">
                  <c:v>6512</c:v>
                </c:pt>
                <c:pt idx="177">
                  <c:v>6820</c:v>
                </c:pt>
                <c:pt idx="178">
                  <c:v>6875</c:v>
                </c:pt>
                <c:pt idx="179">
                  <c:v>6854</c:v>
                </c:pt>
                <c:pt idx="180">
                  <c:v>7175</c:v>
                </c:pt>
                <c:pt idx="181">
                  <c:v>7760</c:v>
                </c:pt>
                <c:pt idx="182">
                  <c:v>8399</c:v>
                </c:pt>
                <c:pt idx="183">
                  <c:v>9288</c:v>
                </c:pt>
                <c:pt idx="184">
                  <c:v>9840</c:v>
                </c:pt>
                <c:pt idx="185">
                  <c:v>10069</c:v>
                </c:pt>
                <c:pt idx="186">
                  <c:v>10882</c:v>
                </c:pt>
                <c:pt idx="187">
                  <c:v>10960</c:v>
                </c:pt>
                <c:pt idx="188">
                  <c:v>10882</c:v>
                </c:pt>
                <c:pt idx="189">
                  <c:v>11368</c:v>
                </c:pt>
                <c:pt idx="190">
                  <c:v>11232</c:v>
                </c:pt>
                <c:pt idx="191">
                  <c:v>11826</c:v>
                </c:pt>
                <c:pt idx="192">
                  <c:v>11487</c:v>
                </c:pt>
                <c:pt idx="193">
                  <c:v>11601</c:v>
                </c:pt>
                <c:pt idx="194">
                  <c:v>12027</c:v>
                </c:pt>
                <c:pt idx="195">
                  <c:v>11755</c:v>
                </c:pt>
                <c:pt idx="196">
                  <c:v>11443</c:v>
                </c:pt>
                <c:pt idx="197">
                  <c:v>10961</c:v>
                </c:pt>
                <c:pt idx="198">
                  <c:v>11380</c:v>
                </c:pt>
                <c:pt idx="199">
                  <c:v>10198</c:v>
                </c:pt>
                <c:pt idx="200">
                  <c:v>10854</c:v>
                </c:pt>
                <c:pt idx="201">
                  <c:v>10471</c:v>
                </c:pt>
                <c:pt idx="202">
                  <c:v>10746</c:v>
                </c:pt>
                <c:pt idx="203">
                  <c:v>11234</c:v>
                </c:pt>
                <c:pt idx="204">
                  <c:v>10563</c:v>
                </c:pt>
                <c:pt idx="205">
                  <c:v>9974</c:v>
                </c:pt>
                <c:pt idx="206">
                  <c:v>9745</c:v>
                </c:pt>
                <c:pt idx="207">
                  <c:v>10320</c:v>
                </c:pt>
                <c:pt idx="208">
                  <c:v>9616</c:v>
                </c:pt>
                <c:pt idx="209">
                  <c:v>9165</c:v>
                </c:pt>
                <c:pt idx="210">
                  <c:v>8920</c:v>
                </c:pt>
                <c:pt idx="211">
                  <c:v>961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B30E-43B7-914F-380320E8FAB4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ax val="13000"/>
          <c:min val="10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Millions</a:t>
                </a:r>
              </a:p>
            </c:rich>
          </c:tx>
          <c:layout>
            <c:manualLayout>
              <c:xMode val="edge"/>
              <c:yMode val="edge"/>
              <c:x val="0"/>
              <c:y val="0.48464033792650912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  <c:majorUnit val="1000"/>
        <c:dispUnits>
          <c:builtInUnit val="thousands"/>
          <c:dispUnitsLbl>
            <c:tx>
              <c:rich>
                <a:bodyPr rot="-5400000" spcFirstLastPara="1" vertOverflow="ellipsis" vert="horz" wrap="square" anchor="ctr" anchorCtr="1"/>
                <a:lstStyle/>
                <a:p>
                  <a:pPr>
                    <a:defRPr sz="1000" b="0" i="0" u="none" strike="noStrike" kern="1200" baseline="0">
                      <a:solidFill>
                        <a:schemeClr val="tx1">
                          <a:lumMod val="65000"/>
                          <a:lumOff val="3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r>
                    <a:rPr lang="en-US">
                      <a:solidFill>
                        <a:schemeClr val="bg1"/>
                      </a:solidFill>
                    </a:rPr>
                    <a:t>Thousands</a:t>
                  </a:r>
                </a:p>
              </c:rich>
            </c:tx>
            <c:spPr>
              <a:noFill/>
              <a:ln>
                <a:noFill/>
              </a:ln>
              <a:effectLst/>
            </c:spPr>
            <c:txPr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</c:dispUnitsLbl>
        </c:dispUnits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Month-over-month change in payroll employment, seasonally adjusted</a:t>
            </a:r>
          </a:p>
        </c:rich>
      </c:tx>
      <c:layout>
        <c:manualLayout>
          <c:xMode val="edge"/>
          <c:yMode val="edge"/>
          <c:x val="9.8604834721746748E-2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104083456959184"/>
          <c:y val="8.2472392865962516E-2"/>
          <c:w val="0.86599699494084981"/>
          <c:h val="0.76130052493438316"/>
        </c:manualLayout>
      </c:layout>
      <c:barChart>
        <c:barDir val="col"/>
        <c:grouping val="clustered"/>
        <c:varyColors val="0"/>
        <c:ser>
          <c:idx val="0"/>
          <c:order val="0"/>
          <c:spPr>
            <a:solidFill>
              <a:srgbClr val="3397CB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invertIfNegative val="0"/>
          <c:cat>
            <c:numRef>
              <c:f>'Payroll job changes'!$A$265:$A$297</c:f>
              <c:numCache>
                <c:formatCode>General</c:formatCode>
                <c:ptCount val="33"/>
                <c:pt idx="0">
                  <c:v>2021</c:v>
                </c:pt>
                <c:pt idx="3" formatCode="[$-409]mmm\-yy;@">
                  <c:v>42825</c:v>
                </c:pt>
                <c:pt idx="6" formatCode="[$-409]mmm\-yy;@">
                  <c:v>42916</c:v>
                </c:pt>
                <c:pt idx="9" formatCode="[$-409]mmm\-yy;@">
                  <c:v>43008</c:v>
                </c:pt>
                <c:pt idx="12">
                  <c:v>2022</c:v>
                </c:pt>
                <c:pt idx="13" formatCode="[$-409]mmm\-yy;@">
                  <c:v>43152</c:v>
                </c:pt>
                <c:pt idx="14" formatCode="[$-409]mmm\-yy;@">
                  <c:v>43180</c:v>
                </c:pt>
                <c:pt idx="15" formatCode="[$-409]mmm\-yy;@">
                  <c:v>43190</c:v>
                </c:pt>
                <c:pt idx="16" formatCode="[$-409]mmm\-yy;@">
                  <c:v>43220</c:v>
                </c:pt>
                <c:pt idx="17" formatCode="[$-409]mmm\-yy;@">
                  <c:v>43251</c:v>
                </c:pt>
                <c:pt idx="18" formatCode="[$-409]mmm\-yy;@">
                  <c:v>43281</c:v>
                </c:pt>
                <c:pt idx="19" formatCode="[$-409]mmm\-yy;@">
                  <c:v>43312</c:v>
                </c:pt>
                <c:pt idx="20" formatCode="[$-409]mmm\-yy;@">
                  <c:v>43343</c:v>
                </c:pt>
                <c:pt idx="21" formatCode="[$-409]mmm\-yy;@">
                  <c:v>43373</c:v>
                </c:pt>
                <c:pt idx="22" formatCode="[$-409]mmm\-yy;@">
                  <c:v>43404</c:v>
                </c:pt>
                <c:pt idx="23" formatCode="[$-409]mmm\-yy;@">
                  <c:v>43434</c:v>
                </c:pt>
                <c:pt idx="24">
                  <c:v>2023</c:v>
                </c:pt>
                <c:pt idx="25" formatCode="[$-409]mmm\-yy;@">
                  <c:v>43496</c:v>
                </c:pt>
                <c:pt idx="26" formatCode="[$-409]mmm\-yy;@">
                  <c:v>43524</c:v>
                </c:pt>
                <c:pt idx="27" formatCode="[$-409]mmm\-yy;@">
                  <c:v>43555</c:v>
                </c:pt>
                <c:pt idx="28" formatCode="[$-409]mmm\-yy;@">
                  <c:v>43585</c:v>
                </c:pt>
                <c:pt idx="29" formatCode="[$-409]mmm\-yy;@">
                  <c:v>43616</c:v>
                </c:pt>
                <c:pt idx="30" formatCode="[$-409]mmm\-yy;@">
                  <c:v>43646</c:v>
                </c:pt>
                <c:pt idx="31" formatCode="[$-409]mmm\-yy;@">
                  <c:v>43677</c:v>
                </c:pt>
                <c:pt idx="32" formatCode="[$-409]mmm\-yy;@">
                  <c:v>43708</c:v>
                </c:pt>
              </c:numCache>
            </c:numRef>
          </c:cat>
          <c:val>
            <c:numRef>
              <c:f>'Payroll job changes'!$B$265:$B$297</c:f>
              <c:numCache>
                <c:formatCode>#,##0</c:formatCode>
                <c:ptCount val="33"/>
                <c:pt idx="0">
                  <c:v>494</c:v>
                </c:pt>
                <c:pt idx="1">
                  <c:v>575</c:v>
                </c:pt>
                <c:pt idx="2">
                  <c:v>784</c:v>
                </c:pt>
                <c:pt idx="3">
                  <c:v>286</c:v>
                </c:pt>
                <c:pt idx="4">
                  <c:v>482</c:v>
                </c:pt>
                <c:pt idx="5">
                  <c:v>693</c:v>
                </c:pt>
                <c:pt idx="6">
                  <c:v>769</c:v>
                </c:pt>
                <c:pt idx="7">
                  <c:v>663</c:v>
                </c:pt>
                <c:pt idx="8">
                  <c:v>557</c:v>
                </c:pt>
                <c:pt idx="9">
                  <c:v>781</c:v>
                </c:pt>
                <c:pt idx="10">
                  <c:v>614</c:v>
                </c:pt>
                <c:pt idx="11">
                  <c:v>569</c:v>
                </c:pt>
                <c:pt idx="12">
                  <c:v>364</c:v>
                </c:pt>
                <c:pt idx="13">
                  <c:v>904</c:v>
                </c:pt>
                <c:pt idx="14">
                  <c:v>414</c:v>
                </c:pt>
                <c:pt idx="15">
                  <c:v>254</c:v>
                </c:pt>
                <c:pt idx="16">
                  <c:v>364</c:v>
                </c:pt>
                <c:pt idx="17">
                  <c:v>370</c:v>
                </c:pt>
                <c:pt idx="18">
                  <c:v>568</c:v>
                </c:pt>
                <c:pt idx="19">
                  <c:v>352</c:v>
                </c:pt>
                <c:pt idx="20">
                  <c:v>350</c:v>
                </c:pt>
                <c:pt idx="21">
                  <c:v>324</c:v>
                </c:pt>
                <c:pt idx="22">
                  <c:v>290</c:v>
                </c:pt>
                <c:pt idx="23">
                  <c:v>239</c:v>
                </c:pt>
                <c:pt idx="24">
                  <c:v>472</c:v>
                </c:pt>
                <c:pt idx="25">
                  <c:v>248</c:v>
                </c:pt>
                <c:pt idx="26">
                  <c:v>217</c:v>
                </c:pt>
                <c:pt idx="27">
                  <c:v>217</c:v>
                </c:pt>
                <c:pt idx="28">
                  <c:v>281</c:v>
                </c:pt>
                <c:pt idx="29">
                  <c:v>105</c:v>
                </c:pt>
                <c:pt idx="30">
                  <c:v>236</c:v>
                </c:pt>
                <c:pt idx="31">
                  <c:v>227</c:v>
                </c:pt>
                <c:pt idx="32">
                  <c:v>33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C99-4DDC-B7BA-AE9CAC5F1C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1"/>
        <c:axId val="491790992"/>
        <c:axId val="491790336"/>
      </c:bar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low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3"/>
        <c:noMultiLvlLbl val="0"/>
      </c:catAx>
      <c:valAx>
        <c:axId val="491790336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Thousands</a:t>
                </a:r>
              </a:p>
            </c:rich>
          </c:tx>
          <c:layout>
            <c:manualLayout>
              <c:xMode val="edge"/>
              <c:yMode val="edge"/>
              <c:x val="9.8702097541503923E-4"/>
              <c:y val="0.40597230082425828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spPr>
        <a:noFill/>
        <a:ln>
          <a:solidFill>
            <a:srgbClr val="7F7F7F"/>
          </a:solidFill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1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 rot="0" spcFirstLastPara="1" vertOverflow="ellipsis" vert="horz" wrap="square" anchor="ctr" anchorCtr="1"/>
          <a:lstStyle/>
          <a:p>
            <a:pPr algn="l"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Payroll employment, </a:t>
            </a:r>
            <a:r>
              <a:rPr lang="en-US" sz="1400" baseline="0" dirty="0">
                <a:solidFill>
                  <a:schemeClr val="tx1"/>
                </a:solidFill>
                <a:latin typeface="Calibri" panose="020F0502020204030204" pitchFamily="34" charset="0"/>
                <a:ea typeface="Tahoma" panose="020B0604030504040204" pitchFamily="34" charset="0"/>
                <a:cs typeface="Calibri" panose="020F0502020204030204" pitchFamily="34" charset="0"/>
              </a:rPr>
              <a:t>seasonally adjusted</a:t>
            </a:r>
            <a:endParaRPr lang="en-US" sz="1400" dirty="0">
              <a:solidFill>
                <a:schemeClr val="tx1"/>
              </a:solidFill>
              <a:latin typeface="Calibri" panose="020F0502020204030204" pitchFamily="34" charset="0"/>
              <a:ea typeface="Tahoma" panose="020B0604030504040204" pitchFamily="34" charset="0"/>
              <a:cs typeface="Calibri" panose="020F0502020204030204" pitchFamily="34" charset="0"/>
            </a:endParaRPr>
          </a:p>
        </c:rich>
      </c:tx>
      <c:layout>
        <c:manualLayout>
          <c:xMode val="edge"/>
          <c:yMode val="edge"/>
          <c:x val="0.10648322492297159"/>
          <c:y val="0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 algn="l"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072372475179733"/>
          <c:y val="6.8341187834792025E-2"/>
          <c:w val="0.84086252805355854"/>
          <c:h val="0.77781014873140852"/>
        </c:manualLayout>
      </c:layout>
      <c:barChart>
        <c:barDir val="col"/>
        <c:grouping val="clustered"/>
        <c:varyColors val="0"/>
        <c:ser>
          <c:idx val="1"/>
          <c:order val="1"/>
          <c:tx>
            <c:strRef>
              <c:f>'Warehousing jobs'!$C$1</c:f>
              <c:strCache>
                <c:ptCount val="1"/>
                <c:pt idx="0">
                  <c:v> Y/Y change (right axis)</c:v>
                </c:pt>
              </c:strCache>
            </c:strRef>
          </c:tx>
          <c:spPr>
            <a:solidFill>
              <a:schemeClr val="bg1">
                <a:lumMod val="75000"/>
              </a:schemeClr>
            </a:solidFill>
            <a:ln>
              <a:solidFill>
                <a:schemeClr val="bg1">
                  <a:lumMod val="75000"/>
                </a:schemeClr>
              </a:solidFill>
            </a:ln>
            <a:effectLst/>
          </c:spPr>
          <c:invertIfNegative val="0"/>
          <c:cat>
            <c:strRef>
              <c:f>'Warehousing jobs'!$A$2:$A$214</c:f>
              <c:strCache>
                <c:ptCount val="212"/>
                <c:pt idx="0">
                  <c:v>2006</c:v>
                </c:pt>
                <c:pt idx="1">
                  <c:v>Feb-06</c:v>
                </c:pt>
                <c:pt idx="2">
                  <c:v>Mar-06</c:v>
                </c:pt>
                <c:pt idx="3">
                  <c:v>Apr-06</c:v>
                </c:pt>
                <c:pt idx="4">
                  <c:v>May-06</c:v>
                </c:pt>
                <c:pt idx="5">
                  <c:v>Jun-06</c:v>
                </c:pt>
                <c:pt idx="6">
                  <c:v>Jul-06</c:v>
                </c:pt>
                <c:pt idx="7">
                  <c:v>Aug-06</c:v>
                </c:pt>
                <c:pt idx="8">
                  <c:v>Sep-06</c:v>
                </c:pt>
                <c:pt idx="9">
                  <c:v>Oct-06</c:v>
                </c:pt>
                <c:pt idx="10">
                  <c:v>Nov-06</c:v>
                </c:pt>
                <c:pt idx="11">
                  <c:v>Dec-06</c:v>
                </c:pt>
                <c:pt idx="12">
                  <c:v>2007</c:v>
                </c:pt>
                <c:pt idx="13">
                  <c:v>Feb-07</c:v>
                </c:pt>
                <c:pt idx="14">
                  <c:v>Mar-07</c:v>
                </c:pt>
                <c:pt idx="15">
                  <c:v>Apr-07</c:v>
                </c:pt>
                <c:pt idx="16">
                  <c:v>May-07</c:v>
                </c:pt>
                <c:pt idx="17">
                  <c:v>Jun-07</c:v>
                </c:pt>
                <c:pt idx="18">
                  <c:v>Jul-07</c:v>
                </c:pt>
                <c:pt idx="19">
                  <c:v>Aug-07</c:v>
                </c:pt>
                <c:pt idx="20">
                  <c:v>Sep-07</c:v>
                </c:pt>
                <c:pt idx="21">
                  <c:v>Oct-07</c:v>
                </c:pt>
                <c:pt idx="22">
                  <c:v>Nov-07</c:v>
                </c:pt>
                <c:pt idx="23">
                  <c:v>Dec-07</c:v>
                </c:pt>
                <c:pt idx="24">
                  <c:v>2008</c:v>
                </c:pt>
                <c:pt idx="25">
                  <c:v>Feb-08</c:v>
                </c:pt>
                <c:pt idx="26">
                  <c:v>Mar-08</c:v>
                </c:pt>
                <c:pt idx="27">
                  <c:v>Apr-08</c:v>
                </c:pt>
                <c:pt idx="28">
                  <c:v>May-08</c:v>
                </c:pt>
                <c:pt idx="29">
                  <c:v>Jun-08</c:v>
                </c:pt>
                <c:pt idx="30">
                  <c:v>Jul-08</c:v>
                </c:pt>
                <c:pt idx="31">
                  <c:v>Aug-08</c:v>
                </c:pt>
                <c:pt idx="32">
                  <c:v>Sep-08</c:v>
                </c:pt>
                <c:pt idx="33">
                  <c:v>Oct-08</c:v>
                </c:pt>
                <c:pt idx="34">
                  <c:v>Nov-08</c:v>
                </c:pt>
                <c:pt idx="35">
                  <c:v>Dec-08</c:v>
                </c:pt>
                <c:pt idx="36">
                  <c:v>2009</c:v>
                </c:pt>
                <c:pt idx="37">
                  <c:v>Feb-09</c:v>
                </c:pt>
                <c:pt idx="38">
                  <c:v>Mar-09</c:v>
                </c:pt>
                <c:pt idx="39">
                  <c:v>Apr-09</c:v>
                </c:pt>
                <c:pt idx="40">
                  <c:v>May-09</c:v>
                </c:pt>
                <c:pt idx="41">
                  <c:v>Jun-09</c:v>
                </c:pt>
                <c:pt idx="42">
                  <c:v>Jul-09</c:v>
                </c:pt>
                <c:pt idx="43">
                  <c:v>Aug-09</c:v>
                </c:pt>
                <c:pt idx="44">
                  <c:v>Sep-09</c:v>
                </c:pt>
                <c:pt idx="45">
                  <c:v>Oct-09</c:v>
                </c:pt>
                <c:pt idx="46">
                  <c:v>Nov-09</c:v>
                </c:pt>
                <c:pt idx="47">
                  <c:v>Dec-09</c:v>
                </c:pt>
                <c:pt idx="48">
                  <c:v>2010</c:v>
                </c:pt>
                <c:pt idx="49">
                  <c:v>Feb-10</c:v>
                </c:pt>
                <c:pt idx="50">
                  <c:v>Mar-10</c:v>
                </c:pt>
                <c:pt idx="51">
                  <c:v>Apr-10</c:v>
                </c:pt>
                <c:pt idx="52">
                  <c:v>May-10</c:v>
                </c:pt>
                <c:pt idx="53">
                  <c:v>Jun-10</c:v>
                </c:pt>
                <c:pt idx="54">
                  <c:v>Jul-10</c:v>
                </c:pt>
                <c:pt idx="55">
                  <c:v>Aug-10</c:v>
                </c:pt>
                <c:pt idx="56">
                  <c:v>Sep-10</c:v>
                </c:pt>
                <c:pt idx="57">
                  <c:v>Oct-10</c:v>
                </c:pt>
                <c:pt idx="58">
                  <c:v>Nov-10</c:v>
                </c:pt>
                <c:pt idx="59">
                  <c:v>Dec-10</c:v>
                </c:pt>
                <c:pt idx="60">
                  <c:v>2011</c:v>
                </c:pt>
                <c:pt idx="61">
                  <c:v>Feb-11</c:v>
                </c:pt>
                <c:pt idx="62">
                  <c:v>Mar-11</c:v>
                </c:pt>
                <c:pt idx="63">
                  <c:v>Apr-11</c:v>
                </c:pt>
                <c:pt idx="64">
                  <c:v>May-11</c:v>
                </c:pt>
                <c:pt idx="65">
                  <c:v>Jun-11</c:v>
                </c:pt>
                <c:pt idx="66">
                  <c:v>Jul-11</c:v>
                </c:pt>
                <c:pt idx="67">
                  <c:v>Aug-11</c:v>
                </c:pt>
                <c:pt idx="68">
                  <c:v>Sep-11</c:v>
                </c:pt>
                <c:pt idx="69">
                  <c:v>Oct-11</c:v>
                </c:pt>
                <c:pt idx="70">
                  <c:v>Nov-11</c:v>
                </c:pt>
                <c:pt idx="71">
                  <c:v>Dec-11</c:v>
                </c:pt>
                <c:pt idx="72">
                  <c:v>2012</c:v>
                </c:pt>
                <c:pt idx="73">
                  <c:v>Feb-12</c:v>
                </c:pt>
                <c:pt idx="74">
                  <c:v>Mar-12</c:v>
                </c:pt>
                <c:pt idx="75">
                  <c:v>Apr-12</c:v>
                </c:pt>
                <c:pt idx="76">
                  <c:v>May-12</c:v>
                </c:pt>
                <c:pt idx="77">
                  <c:v>Jun-12</c:v>
                </c:pt>
                <c:pt idx="78">
                  <c:v>Jul-12</c:v>
                </c:pt>
                <c:pt idx="79">
                  <c:v>Aug-12</c:v>
                </c:pt>
                <c:pt idx="80">
                  <c:v>Sep-12</c:v>
                </c:pt>
                <c:pt idx="81">
                  <c:v>Oct-12</c:v>
                </c:pt>
                <c:pt idx="82">
                  <c:v>Nov-12</c:v>
                </c:pt>
                <c:pt idx="83">
                  <c:v>Dec-12</c:v>
                </c:pt>
                <c:pt idx="84">
                  <c:v>2013</c:v>
                </c:pt>
                <c:pt idx="85">
                  <c:v>Feb-13</c:v>
                </c:pt>
                <c:pt idx="86">
                  <c:v>Mar-13</c:v>
                </c:pt>
                <c:pt idx="87">
                  <c:v>Apr-13</c:v>
                </c:pt>
                <c:pt idx="88">
                  <c:v>May-13</c:v>
                </c:pt>
                <c:pt idx="89">
                  <c:v>Jun-13</c:v>
                </c:pt>
                <c:pt idx="90">
                  <c:v>Jul-13</c:v>
                </c:pt>
                <c:pt idx="91">
                  <c:v>Aug-13</c:v>
                </c:pt>
                <c:pt idx="92">
                  <c:v>Sep-13</c:v>
                </c:pt>
                <c:pt idx="93">
                  <c:v>Oct-13</c:v>
                </c:pt>
                <c:pt idx="94">
                  <c:v>Nov-13</c:v>
                </c:pt>
                <c:pt idx="95">
                  <c:v>Dec-13</c:v>
                </c:pt>
                <c:pt idx="96">
                  <c:v>2014</c:v>
                </c:pt>
                <c:pt idx="97">
                  <c:v>Feb-14</c:v>
                </c:pt>
                <c:pt idx="98">
                  <c:v>Mar-14</c:v>
                </c:pt>
                <c:pt idx="99">
                  <c:v>Apr-14</c:v>
                </c:pt>
                <c:pt idx="100">
                  <c:v>May-14</c:v>
                </c:pt>
                <c:pt idx="101">
                  <c:v>Jun-14</c:v>
                </c:pt>
                <c:pt idx="102">
                  <c:v>Jul-14</c:v>
                </c:pt>
                <c:pt idx="103">
                  <c:v>Aug-14</c:v>
                </c:pt>
                <c:pt idx="104">
                  <c:v>Sep-14</c:v>
                </c:pt>
                <c:pt idx="105">
                  <c:v>Oct-14</c:v>
                </c:pt>
                <c:pt idx="106">
                  <c:v>Nov-14</c:v>
                </c:pt>
                <c:pt idx="107">
                  <c:v>Dec-14</c:v>
                </c:pt>
                <c:pt idx="108">
                  <c:v>2015</c:v>
                </c:pt>
                <c:pt idx="109">
                  <c:v>Feb-15</c:v>
                </c:pt>
                <c:pt idx="110">
                  <c:v>Mar-15</c:v>
                </c:pt>
                <c:pt idx="111">
                  <c:v>Apr-15</c:v>
                </c:pt>
                <c:pt idx="112">
                  <c:v>May-15</c:v>
                </c:pt>
                <c:pt idx="113">
                  <c:v>Jun-15</c:v>
                </c:pt>
                <c:pt idx="114">
                  <c:v>Jul-15</c:v>
                </c:pt>
                <c:pt idx="115">
                  <c:v>Aug-15</c:v>
                </c:pt>
                <c:pt idx="116">
                  <c:v>Sep-15</c:v>
                </c:pt>
                <c:pt idx="117">
                  <c:v>Oct-15</c:v>
                </c:pt>
                <c:pt idx="118">
                  <c:v>Nov-15</c:v>
                </c:pt>
                <c:pt idx="119">
                  <c:v>Dec-15</c:v>
                </c:pt>
                <c:pt idx="120">
                  <c:v>2016</c:v>
                </c:pt>
                <c:pt idx="121">
                  <c:v>Feb-16</c:v>
                </c:pt>
                <c:pt idx="122">
                  <c:v>Mar-16</c:v>
                </c:pt>
                <c:pt idx="123">
                  <c:v>Apr-16</c:v>
                </c:pt>
                <c:pt idx="124">
                  <c:v>May-16</c:v>
                </c:pt>
                <c:pt idx="125">
                  <c:v>Jun-16</c:v>
                </c:pt>
                <c:pt idx="126">
                  <c:v>Jul-16</c:v>
                </c:pt>
                <c:pt idx="127">
                  <c:v>Aug-16</c:v>
                </c:pt>
                <c:pt idx="128">
                  <c:v>Sep-16</c:v>
                </c:pt>
                <c:pt idx="129">
                  <c:v>Oct-16</c:v>
                </c:pt>
                <c:pt idx="130">
                  <c:v>Nov-16</c:v>
                </c:pt>
                <c:pt idx="131">
                  <c:v>Dec-16</c:v>
                </c:pt>
                <c:pt idx="132">
                  <c:v>2017</c:v>
                </c:pt>
                <c:pt idx="133">
                  <c:v>Feb-17</c:v>
                </c:pt>
                <c:pt idx="134">
                  <c:v>Mar-17</c:v>
                </c:pt>
                <c:pt idx="135">
                  <c:v>Apr-17</c:v>
                </c:pt>
                <c:pt idx="136">
                  <c:v>May-17</c:v>
                </c:pt>
                <c:pt idx="137">
                  <c:v>Jun-17</c:v>
                </c:pt>
                <c:pt idx="138">
                  <c:v>Jul-17</c:v>
                </c:pt>
                <c:pt idx="139">
                  <c:v>Aug-17</c:v>
                </c:pt>
                <c:pt idx="140">
                  <c:v>Sep-17</c:v>
                </c:pt>
                <c:pt idx="141">
                  <c:v>Oct-17</c:v>
                </c:pt>
                <c:pt idx="142">
                  <c:v>Nov-17</c:v>
                </c:pt>
                <c:pt idx="143">
                  <c:v>Dec-17</c:v>
                </c:pt>
                <c:pt idx="144">
                  <c:v>2018</c:v>
                </c:pt>
                <c:pt idx="145">
                  <c:v>Feb-18</c:v>
                </c:pt>
                <c:pt idx="146">
                  <c:v>Mar-18</c:v>
                </c:pt>
                <c:pt idx="147">
                  <c:v>Apr-18</c:v>
                </c:pt>
                <c:pt idx="148">
                  <c:v>May-18</c:v>
                </c:pt>
                <c:pt idx="149">
                  <c:v>Jun-18</c:v>
                </c:pt>
                <c:pt idx="150">
                  <c:v>Jul-18</c:v>
                </c:pt>
                <c:pt idx="151">
                  <c:v>Aug-18</c:v>
                </c:pt>
                <c:pt idx="152">
                  <c:v>Sep-18</c:v>
                </c:pt>
                <c:pt idx="153">
                  <c:v>Oct-18</c:v>
                </c:pt>
                <c:pt idx="154">
                  <c:v>Nov-18</c:v>
                </c:pt>
                <c:pt idx="155">
                  <c:v>Dec-18</c:v>
                </c:pt>
                <c:pt idx="156">
                  <c:v>2019</c:v>
                </c:pt>
                <c:pt idx="157">
                  <c:v>Feb-19</c:v>
                </c:pt>
                <c:pt idx="158">
                  <c:v>Mar-19</c:v>
                </c:pt>
                <c:pt idx="159">
                  <c:v>Apr-19</c:v>
                </c:pt>
                <c:pt idx="160">
                  <c:v>May-19</c:v>
                </c:pt>
                <c:pt idx="161">
                  <c:v>Jun-19</c:v>
                </c:pt>
                <c:pt idx="162">
                  <c:v>Jul-19</c:v>
                </c:pt>
                <c:pt idx="163">
                  <c:v>Aug-19</c:v>
                </c:pt>
                <c:pt idx="164">
                  <c:v>Sep-19</c:v>
                </c:pt>
                <c:pt idx="165">
                  <c:v>Oct-19</c:v>
                </c:pt>
                <c:pt idx="166">
                  <c:v>Nov-19</c:v>
                </c:pt>
                <c:pt idx="167">
                  <c:v>Dec-19</c:v>
                </c:pt>
                <c:pt idx="168">
                  <c:v>2020</c:v>
                </c:pt>
                <c:pt idx="169">
                  <c:v>Feb-20</c:v>
                </c:pt>
                <c:pt idx="170">
                  <c:v>Mar-20</c:v>
                </c:pt>
                <c:pt idx="171">
                  <c:v>Apr-20</c:v>
                </c:pt>
                <c:pt idx="172">
                  <c:v>May-20</c:v>
                </c:pt>
                <c:pt idx="173">
                  <c:v>Jun-20</c:v>
                </c:pt>
                <c:pt idx="174">
                  <c:v>Jul-20</c:v>
                </c:pt>
                <c:pt idx="175">
                  <c:v>Aug-20</c:v>
                </c:pt>
                <c:pt idx="176">
                  <c:v>Sep-20</c:v>
                </c:pt>
                <c:pt idx="177">
                  <c:v>Oct-20</c:v>
                </c:pt>
                <c:pt idx="178">
                  <c:v>Nov-20</c:v>
                </c:pt>
                <c:pt idx="179">
                  <c:v>Dec-20</c:v>
                </c:pt>
                <c:pt idx="180">
                  <c:v>2021</c:v>
                </c:pt>
                <c:pt idx="181">
                  <c:v>Feb-21</c:v>
                </c:pt>
                <c:pt idx="182">
                  <c:v>Mar-21</c:v>
                </c:pt>
                <c:pt idx="183">
                  <c:v>Apr-21</c:v>
                </c:pt>
                <c:pt idx="184">
                  <c:v>May-21</c:v>
                </c:pt>
                <c:pt idx="185">
                  <c:v>Jun-21</c:v>
                </c:pt>
                <c:pt idx="186">
                  <c:v>Jul-21</c:v>
                </c:pt>
                <c:pt idx="187">
                  <c:v>Aug-21</c:v>
                </c:pt>
                <c:pt idx="188">
                  <c:v>Sep-21</c:v>
                </c:pt>
                <c:pt idx="189">
                  <c:v>Oct-21</c:v>
                </c:pt>
                <c:pt idx="190">
                  <c:v>Nov-21</c:v>
                </c:pt>
                <c:pt idx="191">
                  <c:v>Dec-21</c:v>
                </c:pt>
                <c:pt idx="192">
                  <c:v>2022</c:v>
                </c:pt>
                <c:pt idx="193">
                  <c:v>Feb-22</c:v>
                </c:pt>
                <c:pt idx="194">
                  <c:v>Mar-22</c:v>
                </c:pt>
                <c:pt idx="195">
                  <c:v>Apr-22</c:v>
                </c:pt>
                <c:pt idx="196">
                  <c:v>May-22</c:v>
                </c:pt>
                <c:pt idx="197">
                  <c:v>Jun-22</c:v>
                </c:pt>
                <c:pt idx="198">
                  <c:v>Jul-22</c:v>
                </c:pt>
                <c:pt idx="199">
                  <c:v>Aug-22</c:v>
                </c:pt>
                <c:pt idx="200">
                  <c:v>Sep-22</c:v>
                </c:pt>
                <c:pt idx="201">
                  <c:v>Oct-22</c:v>
                </c:pt>
                <c:pt idx="202">
                  <c:v>Nov-22</c:v>
                </c:pt>
                <c:pt idx="203">
                  <c:v>Dec-22</c:v>
                </c:pt>
                <c:pt idx="204">
                  <c:v>2023</c:v>
                </c:pt>
                <c:pt idx="205">
                  <c:v>Feb-23</c:v>
                </c:pt>
                <c:pt idx="206">
                  <c:v>Mar-23</c:v>
                </c:pt>
                <c:pt idx="207">
                  <c:v>Apr-23</c:v>
                </c:pt>
                <c:pt idx="208">
                  <c:v>May-23</c:v>
                </c:pt>
                <c:pt idx="209">
                  <c:v>Jun-23</c:v>
                </c:pt>
                <c:pt idx="210">
                  <c:v>Jul-23</c:v>
                </c:pt>
                <c:pt idx="211">
                  <c:v>Aug-23</c:v>
                </c:pt>
              </c:strCache>
            </c:strRef>
          </c:cat>
          <c:val>
            <c:numRef>
              <c:f>'Warehousing jobs'!$C$2:$C$214</c:f>
              <c:numCache>
                <c:formatCode>0.0%</c:formatCode>
                <c:ptCount val="213"/>
                <c:pt idx="0">
                  <c:v>7.8983753888696731E-2</c:v>
                </c:pt>
                <c:pt idx="1">
                  <c:v>8.1002230993650129E-2</c:v>
                </c:pt>
                <c:pt idx="2">
                  <c:v>8.0054738282586302E-2</c:v>
                </c:pt>
                <c:pt idx="3">
                  <c:v>8.0367784777796783E-2</c:v>
                </c:pt>
                <c:pt idx="4">
                  <c:v>8.0948348856900859E-2</c:v>
                </c:pt>
                <c:pt idx="5">
                  <c:v>6.8650265957446735E-2</c:v>
                </c:pt>
                <c:pt idx="6">
                  <c:v>7.5412019310803977E-2</c:v>
                </c:pt>
                <c:pt idx="7">
                  <c:v>6.9871159563924798E-2</c:v>
                </c:pt>
                <c:pt idx="8">
                  <c:v>6.4860426929392451E-2</c:v>
                </c:pt>
                <c:pt idx="9">
                  <c:v>6.5957446808510567E-2</c:v>
                </c:pt>
                <c:pt idx="10">
                  <c:v>6.473649967469107E-2</c:v>
                </c:pt>
                <c:pt idx="11">
                  <c:v>6.6860465116279022E-2</c:v>
                </c:pt>
                <c:pt idx="12">
                  <c:v>5.8465481339099797E-2</c:v>
                </c:pt>
                <c:pt idx="13">
                  <c:v>5.0166693125893037E-2</c:v>
                </c:pt>
                <c:pt idx="14">
                  <c:v>4.7671840354767223E-2</c:v>
                </c:pt>
                <c:pt idx="15">
                  <c:v>4.759653270291575E-2</c:v>
                </c:pt>
                <c:pt idx="16">
                  <c:v>4.6059846467178589E-2</c:v>
                </c:pt>
                <c:pt idx="17">
                  <c:v>3.9819567584383299E-2</c:v>
                </c:pt>
                <c:pt idx="18">
                  <c:v>3.6222910216718231E-2</c:v>
                </c:pt>
                <c:pt idx="19">
                  <c:v>3.211363285471662E-2</c:v>
                </c:pt>
                <c:pt idx="20">
                  <c:v>4.1480339244410143E-2</c:v>
                </c:pt>
                <c:pt idx="21">
                  <c:v>4.4372792875787027E-2</c:v>
                </c:pt>
                <c:pt idx="22">
                  <c:v>3.9566147265505613E-2</c:v>
                </c:pt>
                <c:pt idx="23">
                  <c:v>2.9518619436875566E-2</c:v>
                </c:pt>
                <c:pt idx="24">
                  <c:v>2.7693704600484367E-2</c:v>
                </c:pt>
                <c:pt idx="25">
                  <c:v>2.8571428571428536E-2</c:v>
                </c:pt>
                <c:pt idx="26">
                  <c:v>3.1141345427059746E-2</c:v>
                </c:pt>
                <c:pt idx="27">
                  <c:v>2.9035655182789159E-2</c:v>
                </c:pt>
                <c:pt idx="28">
                  <c:v>2.2914482552044261E-2</c:v>
                </c:pt>
                <c:pt idx="29">
                  <c:v>1.884816753926705E-2</c:v>
                </c:pt>
                <c:pt idx="30">
                  <c:v>1.4938751120406334E-2</c:v>
                </c:pt>
                <c:pt idx="31">
                  <c:v>1.2116679132385972E-2</c:v>
                </c:pt>
                <c:pt idx="32">
                  <c:v>-2.3689665383476795E-3</c:v>
                </c:pt>
                <c:pt idx="33">
                  <c:v>-1.2643340194060604E-2</c:v>
                </c:pt>
                <c:pt idx="34">
                  <c:v>-2.0132255694342464E-2</c:v>
                </c:pt>
                <c:pt idx="35">
                  <c:v>-2.6172621673283439E-2</c:v>
                </c:pt>
                <c:pt idx="36">
                  <c:v>-2.4885878368428767E-2</c:v>
                </c:pt>
                <c:pt idx="37">
                  <c:v>-3.7477954144620809E-2</c:v>
                </c:pt>
                <c:pt idx="38">
                  <c:v>-4.2222548013487855E-2</c:v>
                </c:pt>
                <c:pt idx="39">
                  <c:v>-5.29239766081872E-2</c:v>
                </c:pt>
                <c:pt idx="40">
                  <c:v>-5.7686676427525591E-2</c:v>
                </c:pt>
                <c:pt idx="41">
                  <c:v>-5.7260314197621495E-2</c:v>
                </c:pt>
                <c:pt idx="42">
                  <c:v>-5.8728289667353516E-2</c:v>
                </c:pt>
                <c:pt idx="43">
                  <c:v>-5.8380135973987585E-2</c:v>
                </c:pt>
                <c:pt idx="44">
                  <c:v>-5.9513208667260183E-2</c:v>
                </c:pt>
                <c:pt idx="45">
                  <c:v>-6.2686122692078655E-2</c:v>
                </c:pt>
                <c:pt idx="46">
                  <c:v>-5.7738452309538099E-2</c:v>
                </c:pt>
                <c:pt idx="47">
                  <c:v>-5.0732296542352277E-2</c:v>
                </c:pt>
                <c:pt idx="48">
                  <c:v>-4.9833887043189362E-2</c:v>
                </c:pt>
                <c:pt idx="49">
                  <c:v>-3.970071766681936E-2</c:v>
                </c:pt>
                <c:pt idx="50">
                  <c:v>-3.0001530690341206E-2</c:v>
                </c:pt>
                <c:pt idx="51">
                  <c:v>-1.9296079036739737E-2</c:v>
                </c:pt>
                <c:pt idx="52">
                  <c:v>-9.4779366065879771E-3</c:v>
                </c:pt>
                <c:pt idx="53">
                  <c:v>-1.8688677776048052E-3</c:v>
                </c:pt>
                <c:pt idx="54">
                  <c:v>-3.9093041438623922E-3</c:v>
                </c:pt>
                <c:pt idx="55">
                  <c:v>1.7265735363365606E-3</c:v>
                </c:pt>
                <c:pt idx="56">
                  <c:v>1.041502288148952E-2</c:v>
                </c:pt>
                <c:pt idx="57">
                  <c:v>2.0651310563939634E-2</c:v>
                </c:pt>
                <c:pt idx="58">
                  <c:v>2.6897978672608774E-2</c:v>
                </c:pt>
                <c:pt idx="59">
                  <c:v>2.7517098775250444E-2</c:v>
                </c:pt>
                <c:pt idx="60">
                  <c:v>2.828989192625549E-2</c:v>
                </c:pt>
                <c:pt idx="61">
                  <c:v>3.1006519319446653E-2</c:v>
                </c:pt>
                <c:pt idx="62">
                  <c:v>2.3828309925832267E-2</c:v>
                </c:pt>
                <c:pt idx="63">
                  <c:v>2.5499763891075156E-2</c:v>
                </c:pt>
                <c:pt idx="64">
                  <c:v>2.4627450980392228E-2</c:v>
                </c:pt>
                <c:pt idx="65">
                  <c:v>2.480886253705723E-2</c:v>
                </c:pt>
                <c:pt idx="66">
                  <c:v>3.6106750392464679E-2</c:v>
                </c:pt>
                <c:pt idx="67">
                  <c:v>3.8545910372923702E-2</c:v>
                </c:pt>
                <c:pt idx="68">
                  <c:v>3.7170076526628251E-2</c:v>
                </c:pt>
                <c:pt idx="69">
                  <c:v>3.4863813229571952E-2</c:v>
                </c:pt>
                <c:pt idx="70">
                  <c:v>3.2858028518288791E-2</c:v>
                </c:pt>
                <c:pt idx="71">
                  <c:v>3.5448916408668693E-2</c:v>
                </c:pt>
                <c:pt idx="72">
                  <c:v>3.7712519319938138E-2</c:v>
                </c:pt>
                <c:pt idx="73">
                  <c:v>4.2103639728562722E-2</c:v>
                </c:pt>
                <c:pt idx="74">
                  <c:v>4.392725030826141E-2</c:v>
                </c:pt>
                <c:pt idx="75">
                  <c:v>4.8042977743668384E-2</c:v>
                </c:pt>
                <c:pt idx="76">
                  <c:v>5.3123086344151763E-2</c:v>
                </c:pt>
                <c:pt idx="77">
                  <c:v>5.2222898903775988E-2</c:v>
                </c:pt>
                <c:pt idx="78">
                  <c:v>5.2424242424242457E-2</c:v>
                </c:pt>
                <c:pt idx="79">
                  <c:v>5.0995775497887856E-2</c:v>
                </c:pt>
                <c:pt idx="80">
                  <c:v>5.3154645384731143E-2</c:v>
                </c:pt>
                <c:pt idx="81">
                  <c:v>5.7903444126936383E-2</c:v>
                </c:pt>
                <c:pt idx="82">
                  <c:v>6.122448979591847E-2</c:v>
                </c:pt>
                <c:pt idx="83">
                  <c:v>6.8769621767080277E-2</c:v>
                </c:pt>
                <c:pt idx="84">
                  <c:v>5.3172475424486221E-2</c:v>
                </c:pt>
                <c:pt idx="85">
                  <c:v>4.6618321740417343E-2</c:v>
                </c:pt>
                <c:pt idx="86">
                  <c:v>4.6065259117082605E-2</c:v>
                </c:pt>
                <c:pt idx="87">
                  <c:v>3.8957234915055691E-2</c:v>
                </c:pt>
                <c:pt idx="88">
                  <c:v>2.9510103212676362E-2</c:v>
                </c:pt>
                <c:pt idx="89">
                  <c:v>3.0096946896252284E-2</c:v>
                </c:pt>
                <c:pt idx="90">
                  <c:v>2.8217679239850305E-2</c:v>
                </c:pt>
                <c:pt idx="91">
                  <c:v>3.0146425495262703E-2</c:v>
                </c:pt>
                <c:pt idx="92">
                  <c:v>3.2456391192450737E-2</c:v>
                </c:pt>
                <c:pt idx="93">
                  <c:v>2.9712823429058826E-2</c:v>
                </c:pt>
                <c:pt idx="94">
                  <c:v>2.9411764705882287E-2</c:v>
                </c:pt>
                <c:pt idx="95">
                  <c:v>2.3779549587354877E-2</c:v>
                </c:pt>
                <c:pt idx="96">
                  <c:v>3.0971574034789954E-2</c:v>
                </c:pt>
                <c:pt idx="97">
                  <c:v>3.4785067873303037E-2</c:v>
                </c:pt>
                <c:pt idx="98">
                  <c:v>4.0084685956245557E-2</c:v>
                </c:pt>
                <c:pt idx="99">
                  <c:v>4.4262757259656019E-2</c:v>
                </c:pt>
                <c:pt idx="100">
                  <c:v>5.5916407794408228E-2</c:v>
                </c:pt>
                <c:pt idx="101">
                  <c:v>5.8716111813457046E-2</c:v>
                </c:pt>
                <c:pt idx="102">
                  <c:v>6.4547745729487405E-2</c:v>
                </c:pt>
                <c:pt idx="103">
                  <c:v>6.5774804905239584E-2</c:v>
                </c:pt>
                <c:pt idx="104">
                  <c:v>6.2179753496745573E-2</c:v>
                </c:pt>
                <c:pt idx="105">
                  <c:v>6.1714759077730288E-2</c:v>
                </c:pt>
                <c:pt idx="106">
                  <c:v>6.5934065934065936E-2</c:v>
                </c:pt>
                <c:pt idx="107">
                  <c:v>6.2440224074327158E-2</c:v>
                </c:pt>
                <c:pt idx="108">
                  <c:v>7.8737997256515743E-2</c:v>
                </c:pt>
                <c:pt idx="109">
                  <c:v>9.0051926755944381E-2</c:v>
                </c:pt>
                <c:pt idx="110">
                  <c:v>9.078572397883021E-2</c:v>
                </c:pt>
                <c:pt idx="111">
                  <c:v>9.2872570194384552E-2</c:v>
                </c:pt>
                <c:pt idx="112">
                  <c:v>9.3073014174913121E-2</c:v>
                </c:pt>
                <c:pt idx="113">
                  <c:v>0.10003980363539866</c:v>
                </c:pt>
                <c:pt idx="114">
                  <c:v>0.10587925818755754</c:v>
                </c:pt>
                <c:pt idx="115">
                  <c:v>0.10760983263598337</c:v>
                </c:pt>
                <c:pt idx="116">
                  <c:v>0.11408083441981746</c:v>
                </c:pt>
                <c:pt idx="117">
                  <c:v>0.1243172951885566</c:v>
                </c:pt>
                <c:pt idx="118">
                  <c:v>0.12319587628865983</c:v>
                </c:pt>
                <c:pt idx="119">
                  <c:v>0.13438786008230452</c:v>
                </c:pt>
                <c:pt idx="120">
                  <c:v>0.13288402848423195</c:v>
                </c:pt>
                <c:pt idx="121">
                  <c:v>0.12498432994860213</c:v>
                </c:pt>
                <c:pt idx="122">
                  <c:v>0.12627519283403832</c:v>
                </c:pt>
                <c:pt idx="123">
                  <c:v>0.12944664031620548</c:v>
                </c:pt>
                <c:pt idx="124">
                  <c:v>0.12772204551015412</c:v>
                </c:pt>
                <c:pt idx="125">
                  <c:v>0.11868290917862739</c:v>
                </c:pt>
                <c:pt idx="126">
                  <c:v>0.11310656517602287</c:v>
                </c:pt>
                <c:pt idx="127">
                  <c:v>0.11191122653759882</c:v>
                </c:pt>
                <c:pt idx="128">
                  <c:v>0.11094207138677584</c:v>
                </c:pt>
                <c:pt idx="129">
                  <c:v>0.10617626648160994</c:v>
                </c:pt>
                <c:pt idx="130">
                  <c:v>0.10658558972005504</c:v>
                </c:pt>
                <c:pt idx="131">
                  <c:v>0.10554358916222653</c:v>
                </c:pt>
                <c:pt idx="132">
                  <c:v>9.8888764171063001E-2</c:v>
                </c:pt>
                <c:pt idx="133">
                  <c:v>9.5498105638511313E-2</c:v>
                </c:pt>
                <c:pt idx="134">
                  <c:v>9.0688169667513557E-2</c:v>
                </c:pt>
                <c:pt idx="135">
                  <c:v>9.2410323709536307E-2</c:v>
                </c:pt>
                <c:pt idx="136">
                  <c:v>9.3946626166196603E-2</c:v>
                </c:pt>
                <c:pt idx="137">
                  <c:v>0.10059299191374658</c:v>
                </c:pt>
                <c:pt idx="138">
                  <c:v>9.9690137835238876E-2</c:v>
                </c:pt>
                <c:pt idx="139">
                  <c:v>0.10383267862830457</c:v>
                </c:pt>
                <c:pt idx="140">
                  <c:v>0.10555145896976725</c:v>
                </c:pt>
                <c:pt idx="141">
                  <c:v>0.11083228774571321</c:v>
                </c:pt>
                <c:pt idx="142">
                  <c:v>0.1169517884914463</c:v>
                </c:pt>
                <c:pt idx="143">
                  <c:v>0.11587366694011485</c:v>
                </c:pt>
                <c:pt idx="144">
                  <c:v>0.11685393258426975</c:v>
                </c:pt>
                <c:pt idx="145">
                  <c:v>0.12531787203743253</c:v>
                </c:pt>
                <c:pt idx="146">
                  <c:v>0.13074741745999596</c:v>
                </c:pt>
                <c:pt idx="147">
                  <c:v>0.12653919311242365</c:v>
                </c:pt>
                <c:pt idx="148">
                  <c:v>0.12673542245140823</c:v>
                </c:pt>
                <c:pt idx="149">
                  <c:v>0.11530172413793108</c:v>
                </c:pt>
                <c:pt idx="150">
                  <c:v>0.10950252623396817</c:v>
                </c:pt>
                <c:pt idx="151">
                  <c:v>0.10522266038280259</c:v>
                </c:pt>
                <c:pt idx="152">
                  <c:v>0.10252501191043345</c:v>
                </c:pt>
                <c:pt idx="153">
                  <c:v>9.8362198795180711E-2</c:v>
                </c:pt>
                <c:pt idx="154">
                  <c:v>8.2892416225749527E-2</c:v>
                </c:pt>
                <c:pt idx="155">
                  <c:v>7.3332108068369734E-2</c:v>
                </c:pt>
                <c:pt idx="156">
                  <c:v>7.3257728187305568E-2</c:v>
                </c:pt>
                <c:pt idx="157">
                  <c:v>6.4810630028021371E-2</c:v>
                </c:pt>
                <c:pt idx="158">
                  <c:v>5.4187192118226604E-2</c:v>
                </c:pt>
                <c:pt idx="159">
                  <c:v>6.4871589798276022E-2</c:v>
                </c:pt>
                <c:pt idx="160">
                  <c:v>6.6977644780848361E-2</c:v>
                </c:pt>
                <c:pt idx="161">
                  <c:v>7.703118137900751E-2</c:v>
                </c:pt>
                <c:pt idx="162">
                  <c:v>8.7485769331815275E-2</c:v>
                </c:pt>
                <c:pt idx="163">
                  <c:v>8.8765120529109745E-2</c:v>
                </c:pt>
                <c:pt idx="164">
                  <c:v>9.0225563909774528E-2</c:v>
                </c:pt>
                <c:pt idx="165">
                  <c:v>8.3211929042762797E-2</c:v>
                </c:pt>
                <c:pt idx="166">
                  <c:v>9.0262300702897466E-2</c:v>
                </c:pt>
                <c:pt idx="167">
                  <c:v>9.9743150684931503E-2</c:v>
                </c:pt>
                <c:pt idx="168">
                  <c:v>0.10847890924584572</c:v>
                </c:pt>
                <c:pt idx="169">
                  <c:v>0.11825127334465191</c:v>
                </c:pt>
                <c:pt idx="170">
                  <c:v>0.14018691588785046</c:v>
                </c:pt>
                <c:pt idx="171">
                  <c:v>5.5578736543436653E-2</c:v>
                </c:pt>
                <c:pt idx="172">
                  <c:v>7.168192691578E-2</c:v>
                </c:pt>
                <c:pt idx="173">
                  <c:v>0.12559125754363074</c:v>
                </c:pt>
                <c:pt idx="174">
                  <c:v>0.11716862618779192</c:v>
                </c:pt>
                <c:pt idx="175">
                  <c:v>0.15386459915274558</c:v>
                </c:pt>
                <c:pt idx="176">
                  <c:v>0.16908442330558854</c:v>
                </c:pt>
                <c:pt idx="177">
                  <c:v>0.19596518987341777</c:v>
                </c:pt>
                <c:pt idx="178">
                  <c:v>0.22407421967135779</c:v>
                </c:pt>
                <c:pt idx="179">
                  <c:v>0.22265472946671858</c:v>
                </c:pt>
                <c:pt idx="180">
                  <c:v>0.21579028290282906</c:v>
                </c:pt>
                <c:pt idx="181">
                  <c:v>0.21043042587110003</c:v>
                </c:pt>
                <c:pt idx="182">
                  <c:v>0.20126676602086432</c:v>
                </c:pt>
                <c:pt idx="183">
                  <c:v>0.28800695707170521</c:v>
                </c:pt>
                <c:pt idx="184">
                  <c:v>0.26562499999999994</c:v>
                </c:pt>
                <c:pt idx="185">
                  <c:v>0.2112012751775105</c:v>
                </c:pt>
                <c:pt idx="186">
                  <c:v>0.22460895264182235</c:v>
                </c:pt>
                <c:pt idx="187">
                  <c:v>0.19825436408977559</c:v>
                </c:pt>
                <c:pt idx="188">
                  <c:v>0.19541632763764583</c:v>
                </c:pt>
                <c:pt idx="189">
                  <c:v>0.19269696368327047</c:v>
                </c:pt>
                <c:pt idx="190">
                  <c:v>0.17188001798445623</c:v>
                </c:pt>
                <c:pt idx="191">
                  <c:v>0.17930595351798784</c:v>
                </c:pt>
                <c:pt idx="192">
                  <c:v>0.1873537780588049</c:v>
                </c:pt>
                <c:pt idx="193">
                  <c:v>0.20000000000000007</c:v>
                </c:pt>
                <c:pt idx="194">
                  <c:v>0.20023571738725898</c:v>
                </c:pt>
                <c:pt idx="195">
                  <c:v>0.19481954333415163</c:v>
                </c:pt>
                <c:pt idx="196">
                  <c:v>0.18925986742078699</c:v>
                </c:pt>
                <c:pt idx="197">
                  <c:v>0.17263863133337315</c:v>
                </c:pt>
                <c:pt idx="198">
                  <c:v>0.15192183177350044</c:v>
                </c:pt>
                <c:pt idx="199">
                  <c:v>0.12764481442941378</c:v>
                </c:pt>
                <c:pt idx="200">
                  <c:v>0.10561542824730576</c:v>
                </c:pt>
                <c:pt idx="201">
                  <c:v>8.1087077093732696E-2</c:v>
                </c:pt>
                <c:pt idx="202">
                  <c:v>6.0893395450808394E-2</c:v>
                </c:pt>
                <c:pt idx="203">
                  <c:v>4.3896117920198791E-2</c:v>
                </c:pt>
                <c:pt idx="204">
                  <c:v>2.9502609436574765E-2</c:v>
                </c:pt>
                <c:pt idx="205">
                  <c:v>7.8394481028535596E-3</c:v>
                </c:pt>
                <c:pt idx="206">
                  <c:v>-8.6309369993281537E-3</c:v>
                </c:pt>
                <c:pt idx="207">
                  <c:v>-1.4743655604643902E-2</c:v>
                </c:pt>
                <c:pt idx="208">
                  <c:v>-2.2347225773459496E-2</c:v>
                </c:pt>
                <c:pt idx="209">
                  <c:v>-2.917920726419428E-2</c:v>
                </c:pt>
                <c:pt idx="210">
                  <c:v>-3.2498722534491521E-2</c:v>
                </c:pt>
                <c:pt idx="211">
                  <c:v>-3.214395570593654E-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5D7-4EAE-A100-A96DD8B88B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axId val="935478271"/>
        <c:axId val="935490335"/>
      </c:barChart>
      <c:lineChart>
        <c:grouping val="standard"/>
        <c:varyColors val="0"/>
        <c:ser>
          <c:idx val="0"/>
          <c:order val="0"/>
          <c:tx>
            <c:strRef>
              <c:f>'Warehousing jobs'!$B$1</c:f>
              <c:strCache>
                <c:ptCount val="1"/>
                <c:pt idx="0">
                  <c:v> Total</c:v>
                </c:pt>
              </c:strCache>
            </c:strRef>
          </c:tx>
          <c:spPr>
            <a:ln w="38100" cap="rnd">
              <a:solidFill>
                <a:srgbClr val="3397CB"/>
              </a:solidFill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Warehousing jobs'!$A$2:$A$214</c:f>
              <c:strCache>
                <c:ptCount val="212"/>
                <c:pt idx="0">
                  <c:v>2006</c:v>
                </c:pt>
                <c:pt idx="1">
                  <c:v>Feb-06</c:v>
                </c:pt>
                <c:pt idx="2">
                  <c:v>Mar-06</c:v>
                </c:pt>
                <c:pt idx="3">
                  <c:v>Apr-06</c:v>
                </c:pt>
                <c:pt idx="4">
                  <c:v>May-06</c:v>
                </c:pt>
                <c:pt idx="5">
                  <c:v>Jun-06</c:v>
                </c:pt>
                <c:pt idx="6">
                  <c:v>Jul-06</c:v>
                </c:pt>
                <c:pt idx="7">
                  <c:v>Aug-06</c:v>
                </c:pt>
                <c:pt idx="8">
                  <c:v>Sep-06</c:v>
                </c:pt>
                <c:pt idx="9">
                  <c:v>Oct-06</c:v>
                </c:pt>
                <c:pt idx="10">
                  <c:v>Nov-06</c:v>
                </c:pt>
                <c:pt idx="11">
                  <c:v>Dec-06</c:v>
                </c:pt>
                <c:pt idx="12">
                  <c:v>2007</c:v>
                </c:pt>
                <c:pt idx="13">
                  <c:v>Feb-07</c:v>
                </c:pt>
                <c:pt idx="14">
                  <c:v>Mar-07</c:v>
                </c:pt>
                <c:pt idx="15">
                  <c:v>Apr-07</c:v>
                </c:pt>
                <c:pt idx="16">
                  <c:v>May-07</c:v>
                </c:pt>
                <c:pt idx="17">
                  <c:v>Jun-07</c:v>
                </c:pt>
                <c:pt idx="18">
                  <c:v>Jul-07</c:v>
                </c:pt>
                <c:pt idx="19">
                  <c:v>Aug-07</c:v>
                </c:pt>
                <c:pt idx="20">
                  <c:v>Sep-07</c:v>
                </c:pt>
                <c:pt idx="21">
                  <c:v>Oct-07</c:v>
                </c:pt>
                <c:pt idx="22">
                  <c:v>Nov-07</c:v>
                </c:pt>
                <c:pt idx="23">
                  <c:v>Dec-07</c:v>
                </c:pt>
                <c:pt idx="24">
                  <c:v>2008</c:v>
                </c:pt>
                <c:pt idx="25">
                  <c:v>Feb-08</c:v>
                </c:pt>
                <c:pt idx="26">
                  <c:v>Mar-08</c:v>
                </c:pt>
                <c:pt idx="27">
                  <c:v>Apr-08</c:v>
                </c:pt>
                <c:pt idx="28">
                  <c:v>May-08</c:v>
                </c:pt>
                <c:pt idx="29">
                  <c:v>Jun-08</c:v>
                </c:pt>
                <c:pt idx="30">
                  <c:v>Jul-08</c:v>
                </c:pt>
                <c:pt idx="31">
                  <c:v>Aug-08</c:v>
                </c:pt>
                <c:pt idx="32">
                  <c:v>Sep-08</c:v>
                </c:pt>
                <c:pt idx="33">
                  <c:v>Oct-08</c:v>
                </c:pt>
                <c:pt idx="34">
                  <c:v>Nov-08</c:v>
                </c:pt>
                <c:pt idx="35">
                  <c:v>Dec-08</c:v>
                </c:pt>
                <c:pt idx="36">
                  <c:v>2009</c:v>
                </c:pt>
                <c:pt idx="37">
                  <c:v>Feb-09</c:v>
                </c:pt>
                <c:pt idx="38">
                  <c:v>Mar-09</c:v>
                </c:pt>
                <c:pt idx="39">
                  <c:v>Apr-09</c:v>
                </c:pt>
                <c:pt idx="40">
                  <c:v>May-09</c:v>
                </c:pt>
                <c:pt idx="41">
                  <c:v>Jun-09</c:v>
                </c:pt>
                <c:pt idx="42">
                  <c:v>Jul-09</c:v>
                </c:pt>
                <c:pt idx="43">
                  <c:v>Aug-09</c:v>
                </c:pt>
                <c:pt idx="44">
                  <c:v>Sep-09</c:v>
                </c:pt>
                <c:pt idx="45">
                  <c:v>Oct-09</c:v>
                </c:pt>
                <c:pt idx="46">
                  <c:v>Nov-09</c:v>
                </c:pt>
                <c:pt idx="47">
                  <c:v>Dec-09</c:v>
                </c:pt>
                <c:pt idx="48">
                  <c:v>2010</c:v>
                </c:pt>
                <c:pt idx="49">
                  <c:v>Feb-10</c:v>
                </c:pt>
                <c:pt idx="50">
                  <c:v>Mar-10</c:v>
                </c:pt>
                <c:pt idx="51">
                  <c:v>Apr-10</c:v>
                </c:pt>
                <c:pt idx="52">
                  <c:v>May-10</c:v>
                </c:pt>
                <c:pt idx="53">
                  <c:v>Jun-10</c:v>
                </c:pt>
                <c:pt idx="54">
                  <c:v>Jul-10</c:v>
                </c:pt>
                <c:pt idx="55">
                  <c:v>Aug-10</c:v>
                </c:pt>
                <c:pt idx="56">
                  <c:v>Sep-10</c:v>
                </c:pt>
                <c:pt idx="57">
                  <c:v>Oct-10</c:v>
                </c:pt>
                <c:pt idx="58">
                  <c:v>Nov-10</c:v>
                </c:pt>
                <c:pt idx="59">
                  <c:v>Dec-10</c:v>
                </c:pt>
                <c:pt idx="60">
                  <c:v>2011</c:v>
                </c:pt>
                <c:pt idx="61">
                  <c:v>Feb-11</c:v>
                </c:pt>
                <c:pt idx="62">
                  <c:v>Mar-11</c:v>
                </c:pt>
                <c:pt idx="63">
                  <c:v>Apr-11</c:v>
                </c:pt>
                <c:pt idx="64">
                  <c:v>May-11</c:v>
                </c:pt>
                <c:pt idx="65">
                  <c:v>Jun-11</c:v>
                </c:pt>
                <c:pt idx="66">
                  <c:v>Jul-11</c:v>
                </c:pt>
                <c:pt idx="67">
                  <c:v>Aug-11</c:v>
                </c:pt>
                <c:pt idx="68">
                  <c:v>Sep-11</c:v>
                </c:pt>
                <c:pt idx="69">
                  <c:v>Oct-11</c:v>
                </c:pt>
                <c:pt idx="70">
                  <c:v>Nov-11</c:v>
                </c:pt>
                <c:pt idx="71">
                  <c:v>Dec-11</c:v>
                </c:pt>
                <c:pt idx="72">
                  <c:v>2012</c:v>
                </c:pt>
                <c:pt idx="73">
                  <c:v>Feb-12</c:v>
                </c:pt>
                <c:pt idx="74">
                  <c:v>Mar-12</c:v>
                </c:pt>
                <c:pt idx="75">
                  <c:v>Apr-12</c:v>
                </c:pt>
                <c:pt idx="76">
                  <c:v>May-12</c:v>
                </c:pt>
                <c:pt idx="77">
                  <c:v>Jun-12</c:v>
                </c:pt>
                <c:pt idx="78">
                  <c:v>Jul-12</c:v>
                </c:pt>
                <c:pt idx="79">
                  <c:v>Aug-12</c:v>
                </c:pt>
                <c:pt idx="80">
                  <c:v>Sep-12</c:v>
                </c:pt>
                <c:pt idx="81">
                  <c:v>Oct-12</c:v>
                </c:pt>
                <c:pt idx="82">
                  <c:v>Nov-12</c:v>
                </c:pt>
                <c:pt idx="83">
                  <c:v>Dec-12</c:v>
                </c:pt>
                <c:pt idx="84">
                  <c:v>2013</c:v>
                </c:pt>
                <c:pt idx="85">
                  <c:v>Feb-13</c:v>
                </c:pt>
                <c:pt idx="86">
                  <c:v>Mar-13</c:v>
                </c:pt>
                <c:pt idx="87">
                  <c:v>Apr-13</c:v>
                </c:pt>
                <c:pt idx="88">
                  <c:v>May-13</c:v>
                </c:pt>
                <c:pt idx="89">
                  <c:v>Jun-13</c:v>
                </c:pt>
                <c:pt idx="90">
                  <c:v>Jul-13</c:v>
                </c:pt>
                <c:pt idx="91">
                  <c:v>Aug-13</c:v>
                </c:pt>
                <c:pt idx="92">
                  <c:v>Sep-13</c:v>
                </c:pt>
                <c:pt idx="93">
                  <c:v>Oct-13</c:v>
                </c:pt>
                <c:pt idx="94">
                  <c:v>Nov-13</c:v>
                </c:pt>
                <c:pt idx="95">
                  <c:v>Dec-13</c:v>
                </c:pt>
                <c:pt idx="96">
                  <c:v>2014</c:v>
                </c:pt>
                <c:pt idx="97">
                  <c:v>Feb-14</c:v>
                </c:pt>
                <c:pt idx="98">
                  <c:v>Mar-14</c:v>
                </c:pt>
                <c:pt idx="99">
                  <c:v>Apr-14</c:v>
                </c:pt>
                <c:pt idx="100">
                  <c:v>May-14</c:v>
                </c:pt>
                <c:pt idx="101">
                  <c:v>Jun-14</c:v>
                </c:pt>
                <c:pt idx="102">
                  <c:v>Jul-14</c:v>
                </c:pt>
                <c:pt idx="103">
                  <c:v>Aug-14</c:v>
                </c:pt>
                <c:pt idx="104">
                  <c:v>Sep-14</c:v>
                </c:pt>
                <c:pt idx="105">
                  <c:v>Oct-14</c:v>
                </c:pt>
                <c:pt idx="106">
                  <c:v>Nov-14</c:v>
                </c:pt>
                <c:pt idx="107">
                  <c:v>Dec-14</c:v>
                </c:pt>
                <c:pt idx="108">
                  <c:v>2015</c:v>
                </c:pt>
                <c:pt idx="109">
                  <c:v>Feb-15</c:v>
                </c:pt>
                <c:pt idx="110">
                  <c:v>Mar-15</c:v>
                </c:pt>
                <c:pt idx="111">
                  <c:v>Apr-15</c:v>
                </c:pt>
                <c:pt idx="112">
                  <c:v>May-15</c:v>
                </c:pt>
                <c:pt idx="113">
                  <c:v>Jun-15</c:v>
                </c:pt>
                <c:pt idx="114">
                  <c:v>Jul-15</c:v>
                </c:pt>
                <c:pt idx="115">
                  <c:v>Aug-15</c:v>
                </c:pt>
                <c:pt idx="116">
                  <c:v>Sep-15</c:v>
                </c:pt>
                <c:pt idx="117">
                  <c:v>Oct-15</c:v>
                </c:pt>
                <c:pt idx="118">
                  <c:v>Nov-15</c:v>
                </c:pt>
                <c:pt idx="119">
                  <c:v>Dec-15</c:v>
                </c:pt>
                <c:pt idx="120">
                  <c:v>2016</c:v>
                </c:pt>
                <c:pt idx="121">
                  <c:v>Feb-16</c:v>
                </c:pt>
                <c:pt idx="122">
                  <c:v>Mar-16</c:v>
                </c:pt>
                <c:pt idx="123">
                  <c:v>Apr-16</c:v>
                </c:pt>
                <c:pt idx="124">
                  <c:v>May-16</c:v>
                </c:pt>
                <c:pt idx="125">
                  <c:v>Jun-16</c:v>
                </c:pt>
                <c:pt idx="126">
                  <c:v>Jul-16</c:v>
                </c:pt>
                <c:pt idx="127">
                  <c:v>Aug-16</c:v>
                </c:pt>
                <c:pt idx="128">
                  <c:v>Sep-16</c:v>
                </c:pt>
                <c:pt idx="129">
                  <c:v>Oct-16</c:v>
                </c:pt>
                <c:pt idx="130">
                  <c:v>Nov-16</c:v>
                </c:pt>
                <c:pt idx="131">
                  <c:v>Dec-16</c:v>
                </c:pt>
                <c:pt idx="132">
                  <c:v>2017</c:v>
                </c:pt>
                <c:pt idx="133">
                  <c:v>Feb-17</c:v>
                </c:pt>
                <c:pt idx="134">
                  <c:v>Mar-17</c:v>
                </c:pt>
                <c:pt idx="135">
                  <c:v>Apr-17</c:v>
                </c:pt>
                <c:pt idx="136">
                  <c:v>May-17</c:v>
                </c:pt>
                <c:pt idx="137">
                  <c:v>Jun-17</c:v>
                </c:pt>
                <c:pt idx="138">
                  <c:v>Jul-17</c:v>
                </c:pt>
                <c:pt idx="139">
                  <c:v>Aug-17</c:v>
                </c:pt>
                <c:pt idx="140">
                  <c:v>Sep-17</c:v>
                </c:pt>
                <c:pt idx="141">
                  <c:v>Oct-17</c:v>
                </c:pt>
                <c:pt idx="142">
                  <c:v>Nov-17</c:v>
                </c:pt>
                <c:pt idx="143">
                  <c:v>Dec-17</c:v>
                </c:pt>
                <c:pt idx="144">
                  <c:v>2018</c:v>
                </c:pt>
                <c:pt idx="145">
                  <c:v>Feb-18</c:v>
                </c:pt>
                <c:pt idx="146">
                  <c:v>Mar-18</c:v>
                </c:pt>
                <c:pt idx="147">
                  <c:v>Apr-18</c:v>
                </c:pt>
                <c:pt idx="148">
                  <c:v>May-18</c:v>
                </c:pt>
                <c:pt idx="149">
                  <c:v>Jun-18</c:v>
                </c:pt>
                <c:pt idx="150">
                  <c:v>Jul-18</c:v>
                </c:pt>
                <c:pt idx="151">
                  <c:v>Aug-18</c:v>
                </c:pt>
                <c:pt idx="152">
                  <c:v>Sep-18</c:v>
                </c:pt>
                <c:pt idx="153">
                  <c:v>Oct-18</c:v>
                </c:pt>
                <c:pt idx="154">
                  <c:v>Nov-18</c:v>
                </c:pt>
                <c:pt idx="155">
                  <c:v>Dec-18</c:v>
                </c:pt>
                <c:pt idx="156">
                  <c:v>2019</c:v>
                </c:pt>
                <c:pt idx="157">
                  <c:v>Feb-19</c:v>
                </c:pt>
                <c:pt idx="158">
                  <c:v>Mar-19</c:v>
                </c:pt>
                <c:pt idx="159">
                  <c:v>Apr-19</c:v>
                </c:pt>
                <c:pt idx="160">
                  <c:v>May-19</c:v>
                </c:pt>
                <c:pt idx="161">
                  <c:v>Jun-19</c:v>
                </c:pt>
                <c:pt idx="162">
                  <c:v>Jul-19</c:v>
                </c:pt>
                <c:pt idx="163">
                  <c:v>Aug-19</c:v>
                </c:pt>
                <c:pt idx="164">
                  <c:v>Sep-19</c:v>
                </c:pt>
                <c:pt idx="165">
                  <c:v>Oct-19</c:v>
                </c:pt>
                <c:pt idx="166">
                  <c:v>Nov-19</c:v>
                </c:pt>
                <c:pt idx="167">
                  <c:v>Dec-19</c:v>
                </c:pt>
                <c:pt idx="168">
                  <c:v>2020</c:v>
                </c:pt>
                <c:pt idx="169">
                  <c:v>Feb-20</c:v>
                </c:pt>
                <c:pt idx="170">
                  <c:v>Mar-20</c:v>
                </c:pt>
                <c:pt idx="171">
                  <c:v>Apr-20</c:v>
                </c:pt>
                <c:pt idx="172">
                  <c:v>May-20</c:v>
                </c:pt>
                <c:pt idx="173">
                  <c:v>Jun-20</c:v>
                </c:pt>
                <c:pt idx="174">
                  <c:v>Jul-20</c:v>
                </c:pt>
                <c:pt idx="175">
                  <c:v>Aug-20</c:v>
                </c:pt>
                <c:pt idx="176">
                  <c:v>Sep-20</c:v>
                </c:pt>
                <c:pt idx="177">
                  <c:v>Oct-20</c:v>
                </c:pt>
                <c:pt idx="178">
                  <c:v>Nov-20</c:v>
                </c:pt>
                <c:pt idx="179">
                  <c:v>Dec-20</c:v>
                </c:pt>
                <c:pt idx="180">
                  <c:v>2021</c:v>
                </c:pt>
                <c:pt idx="181">
                  <c:v>Feb-21</c:v>
                </c:pt>
                <c:pt idx="182">
                  <c:v>Mar-21</c:v>
                </c:pt>
                <c:pt idx="183">
                  <c:v>Apr-21</c:v>
                </c:pt>
                <c:pt idx="184">
                  <c:v>May-21</c:v>
                </c:pt>
                <c:pt idx="185">
                  <c:v>Jun-21</c:v>
                </c:pt>
                <c:pt idx="186">
                  <c:v>Jul-21</c:v>
                </c:pt>
                <c:pt idx="187">
                  <c:v>Aug-21</c:v>
                </c:pt>
                <c:pt idx="188">
                  <c:v>Sep-21</c:v>
                </c:pt>
                <c:pt idx="189">
                  <c:v>Oct-21</c:v>
                </c:pt>
                <c:pt idx="190">
                  <c:v>Nov-21</c:v>
                </c:pt>
                <c:pt idx="191">
                  <c:v>Dec-21</c:v>
                </c:pt>
                <c:pt idx="192">
                  <c:v>2022</c:v>
                </c:pt>
                <c:pt idx="193">
                  <c:v>Feb-22</c:v>
                </c:pt>
                <c:pt idx="194">
                  <c:v>Mar-22</c:v>
                </c:pt>
                <c:pt idx="195">
                  <c:v>Apr-22</c:v>
                </c:pt>
                <c:pt idx="196">
                  <c:v>May-22</c:v>
                </c:pt>
                <c:pt idx="197">
                  <c:v>Jun-22</c:v>
                </c:pt>
                <c:pt idx="198">
                  <c:v>Jul-22</c:v>
                </c:pt>
                <c:pt idx="199">
                  <c:v>Aug-22</c:v>
                </c:pt>
                <c:pt idx="200">
                  <c:v>Sep-22</c:v>
                </c:pt>
                <c:pt idx="201">
                  <c:v>Oct-22</c:v>
                </c:pt>
                <c:pt idx="202">
                  <c:v>Nov-22</c:v>
                </c:pt>
                <c:pt idx="203">
                  <c:v>Dec-22</c:v>
                </c:pt>
                <c:pt idx="204">
                  <c:v>2023</c:v>
                </c:pt>
                <c:pt idx="205">
                  <c:v>Feb-23</c:v>
                </c:pt>
                <c:pt idx="206">
                  <c:v>Mar-23</c:v>
                </c:pt>
                <c:pt idx="207">
                  <c:v>Apr-23</c:v>
                </c:pt>
                <c:pt idx="208">
                  <c:v>May-23</c:v>
                </c:pt>
                <c:pt idx="209">
                  <c:v>Jun-23</c:v>
                </c:pt>
                <c:pt idx="210">
                  <c:v>Jul-23</c:v>
                </c:pt>
                <c:pt idx="211">
                  <c:v>Aug-23</c:v>
                </c:pt>
              </c:strCache>
            </c:strRef>
          </c:cat>
          <c:val>
            <c:numRef>
              <c:f>'Warehousing jobs'!$B$2:$B$214</c:f>
              <c:numCache>
                <c:formatCode>General</c:formatCode>
                <c:ptCount val="213"/>
                <c:pt idx="0">
                  <c:v>624.29999999999995</c:v>
                </c:pt>
                <c:pt idx="1">
                  <c:v>629.9</c:v>
                </c:pt>
                <c:pt idx="2">
                  <c:v>631.4</c:v>
                </c:pt>
                <c:pt idx="3">
                  <c:v>634.5</c:v>
                </c:pt>
                <c:pt idx="4">
                  <c:v>638.29999999999995</c:v>
                </c:pt>
                <c:pt idx="5">
                  <c:v>642.9</c:v>
                </c:pt>
                <c:pt idx="6">
                  <c:v>646</c:v>
                </c:pt>
                <c:pt idx="7">
                  <c:v>647.70000000000005</c:v>
                </c:pt>
                <c:pt idx="8">
                  <c:v>648.5</c:v>
                </c:pt>
                <c:pt idx="9">
                  <c:v>651.29999999999995</c:v>
                </c:pt>
                <c:pt idx="10">
                  <c:v>654.6</c:v>
                </c:pt>
                <c:pt idx="11">
                  <c:v>660.6</c:v>
                </c:pt>
                <c:pt idx="12">
                  <c:v>660.8</c:v>
                </c:pt>
                <c:pt idx="13">
                  <c:v>661.5</c:v>
                </c:pt>
                <c:pt idx="14">
                  <c:v>661.5</c:v>
                </c:pt>
                <c:pt idx="15">
                  <c:v>664.7</c:v>
                </c:pt>
                <c:pt idx="16">
                  <c:v>667.7</c:v>
                </c:pt>
                <c:pt idx="17">
                  <c:v>668.5</c:v>
                </c:pt>
                <c:pt idx="18">
                  <c:v>669.4</c:v>
                </c:pt>
                <c:pt idx="19">
                  <c:v>668.5</c:v>
                </c:pt>
                <c:pt idx="20">
                  <c:v>675.4</c:v>
                </c:pt>
                <c:pt idx="21">
                  <c:v>680.2</c:v>
                </c:pt>
                <c:pt idx="22">
                  <c:v>680.5</c:v>
                </c:pt>
                <c:pt idx="23">
                  <c:v>680.1</c:v>
                </c:pt>
                <c:pt idx="24">
                  <c:v>679.1</c:v>
                </c:pt>
                <c:pt idx="25">
                  <c:v>680.4</c:v>
                </c:pt>
                <c:pt idx="26">
                  <c:v>682.1</c:v>
                </c:pt>
                <c:pt idx="27">
                  <c:v>684</c:v>
                </c:pt>
                <c:pt idx="28">
                  <c:v>683</c:v>
                </c:pt>
                <c:pt idx="29">
                  <c:v>681.1</c:v>
                </c:pt>
                <c:pt idx="30">
                  <c:v>679.4</c:v>
                </c:pt>
                <c:pt idx="31">
                  <c:v>676.6</c:v>
                </c:pt>
                <c:pt idx="32">
                  <c:v>673.8</c:v>
                </c:pt>
                <c:pt idx="33">
                  <c:v>671.6</c:v>
                </c:pt>
                <c:pt idx="34">
                  <c:v>666.8</c:v>
                </c:pt>
                <c:pt idx="35">
                  <c:v>662.3</c:v>
                </c:pt>
                <c:pt idx="36">
                  <c:v>662.2</c:v>
                </c:pt>
                <c:pt idx="37">
                  <c:v>654.9</c:v>
                </c:pt>
                <c:pt idx="38">
                  <c:v>653.29999999999995</c:v>
                </c:pt>
                <c:pt idx="39">
                  <c:v>647.79999999999995</c:v>
                </c:pt>
                <c:pt idx="40">
                  <c:v>643.6</c:v>
                </c:pt>
                <c:pt idx="41">
                  <c:v>642.1</c:v>
                </c:pt>
                <c:pt idx="42">
                  <c:v>639.5</c:v>
                </c:pt>
                <c:pt idx="43">
                  <c:v>637.1</c:v>
                </c:pt>
                <c:pt idx="44">
                  <c:v>633.70000000000005</c:v>
                </c:pt>
                <c:pt idx="45">
                  <c:v>629.5</c:v>
                </c:pt>
                <c:pt idx="46">
                  <c:v>628.29999999999995</c:v>
                </c:pt>
                <c:pt idx="47">
                  <c:v>628.70000000000005</c:v>
                </c:pt>
                <c:pt idx="48">
                  <c:v>629.20000000000005</c:v>
                </c:pt>
                <c:pt idx="49">
                  <c:v>628.9</c:v>
                </c:pt>
                <c:pt idx="50">
                  <c:v>633.70000000000005</c:v>
                </c:pt>
                <c:pt idx="51">
                  <c:v>635.29999999999995</c:v>
                </c:pt>
                <c:pt idx="52">
                  <c:v>637.5</c:v>
                </c:pt>
                <c:pt idx="53">
                  <c:v>640.9</c:v>
                </c:pt>
                <c:pt idx="54">
                  <c:v>637</c:v>
                </c:pt>
                <c:pt idx="55">
                  <c:v>638.20000000000005</c:v>
                </c:pt>
                <c:pt idx="56">
                  <c:v>640.29999999999995</c:v>
                </c:pt>
                <c:pt idx="57">
                  <c:v>642.5</c:v>
                </c:pt>
                <c:pt idx="58">
                  <c:v>645.20000000000005</c:v>
                </c:pt>
                <c:pt idx="59">
                  <c:v>646</c:v>
                </c:pt>
                <c:pt idx="60">
                  <c:v>647</c:v>
                </c:pt>
                <c:pt idx="61">
                  <c:v>648.4</c:v>
                </c:pt>
                <c:pt idx="62">
                  <c:v>648.79999999999995</c:v>
                </c:pt>
                <c:pt idx="63">
                  <c:v>651.5</c:v>
                </c:pt>
                <c:pt idx="64">
                  <c:v>653.20000000000005</c:v>
                </c:pt>
                <c:pt idx="65">
                  <c:v>656.8</c:v>
                </c:pt>
                <c:pt idx="66">
                  <c:v>660</c:v>
                </c:pt>
                <c:pt idx="67">
                  <c:v>662.8</c:v>
                </c:pt>
                <c:pt idx="68">
                  <c:v>664.1</c:v>
                </c:pt>
                <c:pt idx="69">
                  <c:v>664.9</c:v>
                </c:pt>
                <c:pt idx="70">
                  <c:v>666.4</c:v>
                </c:pt>
                <c:pt idx="71">
                  <c:v>668.9</c:v>
                </c:pt>
                <c:pt idx="72">
                  <c:v>671.4</c:v>
                </c:pt>
                <c:pt idx="73">
                  <c:v>675.7</c:v>
                </c:pt>
                <c:pt idx="74">
                  <c:v>677.3</c:v>
                </c:pt>
                <c:pt idx="75">
                  <c:v>682.8</c:v>
                </c:pt>
                <c:pt idx="76">
                  <c:v>687.9</c:v>
                </c:pt>
                <c:pt idx="77">
                  <c:v>691.1</c:v>
                </c:pt>
                <c:pt idx="78">
                  <c:v>694.6</c:v>
                </c:pt>
                <c:pt idx="79">
                  <c:v>696.6</c:v>
                </c:pt>
                <c:pt idx="80">
                  <c:v>699.4</c:v>
                </c:pt>
                <c:pt idx="81">
                  <c:v>703.4</c:v>
                </c:pt>
                <c:pt idx="82">
                  <c:v>707.2</c:v>
                </c:pt>
                <c:pt idx="83">
                  <c:v>714.9</c:v>
                </c:pt>
                <c:pt idx="84">
                  <c:v>707.1</c:v>
                </c:pt>
                <c:pt idx="85">
                  <c:v>707.2</c:v>
                </c:pt>
                <c:pt idx="86">
                  <c:v>708.5</c:v>
                </c:pt>
                <c:pt idx="87">
                  <c:v>709.4</c:v>
                </c:pt>
                <c:pt idx="88">
                  <c:v>708.2</c:v>
                </c:pt>
                <c:pt idx="89">
                  <c:v>711.9</c:v>
                </c:pt>
                <c:pt idx="90">
                  <c:v>714.2</c:v>
                </c:pt>
                <c:pt idx="91">
                  <c:v>717.6</c:v>
                </c:pt>
                <c:pt idx="92">
                  <c:v>722.1</c:v>
                </c:pt>
                <c:pt idx="93">
                  <c:v>724.3</c:v>
                </c:pt>
                <c:pt idx="94">
                  <c:v>728</c:v>
                </c:pt>
                <c:pt idx="95">
                  <c:v>731.9</c:v>
                </c:pt>
                <c:pt idx="96">
                  <c:v>729</c:v>
                </c:pt>
                <c:pt idx="97">
                  <c:v>731.8</c:v>
                </c:pt>
                <c:pt idx="98">
                  <c:v>736.9</c:v>
                </c:pt>
                <c:pt idx="99">
                  <c:v>740.8</c:v>
                </c:pt>
                <c:pt idx="100">
                  <c:v>747.8</c:v>
                </c:pt>
                <c:pt idx="101">
                  <c:v>753.7</c:v>
                </c:pt>
                <c:pt idx="102">
                  <c:v>760.3</c:v>
                </c:pt>
                <c:pt idx="103">
                  <c:v>764.8</c:v>
                </c:pt>
                <c:pt idx="104">
                  <c:v>767</c:v>
                </c:pt>
                <c:pt idx="105">
                  <c:v>769</c:v>
                </c:pt>
                <c:pt idx="106">
                  <c:v>776</c:v>
                </c:pt>
                <c:pt idx="107">
                  <c:v>777.6</c:v>
                </c:pt>
                <c:pt idx="108">
                  <c:v>786.4</c:v>
                </c:pt>
                <c:pt idx="109">
                  <c:v>797.7</c:v>
                </c:pt>
                <c:pt idx="110">
                  <c:v>803.8</c:v>
                </c:pt>
                <c:pt idx="111">
                  <c:v>809.6</c:v>
                </c:pt>
                <c:pt idx="112">
                  <c:v>817.4</c:v>
                </c:pt>
                <c:pt idx="113">
                  <c:v>829.1</c:v>
                </c:pt>
                <c:pt idx="114">
                  <c:v>840.8</c:v>
                </c:pt>
                <c:pt idx="115">
                  <c:v>847.1</c:v>
                </c:pt>
                <c:pt idx="116">
                  <c:v>854.5</c:v>
                </c:pt>
                <c:pt idx="117">
                  <c:v>864.6</c:v>
                </c:pt>
                <c:pt idx="118">
                  <c:v>871.6</c:v>
                </c:pt>
                <c:pt idx="119">
                  <c:v>882.1</c:v>
                </c:pt>
                <c:pt idx="120">
                  <c:v>890.9</c:v>
                </c:pt>
                <c:pt idx="121">
                  <c:v>897.4</c:v>
                </c:pt>
                <c:pt idx="122">
                  <c:v>905.3</c:v>
                </c:pt>
                <c:pt idx="123">
                  <c:v>914.4</c:v>
                </c:pt>
                <c:pt idx="124">
                  <c:v>921.8</c:v>
                </c:pt>
                <c:pt idx="125">
                  <c:v>927.5</c:v>
                </c:pt>
                <c:pt idx="126">
                  <c:v>935.9</c:v>
                </c:pt>
                <c:pt idx="127">
                  <c:v>941.9</c:v>
                </c:pt>
                <c:pt idx="128">
                  <c:v>949.3</c:v>
                </c:pt>
                <c:pt idx="129">
                  <c:v>956.4</c:v>
                </c:pt>
                <c:pt idx="130">
                  <c:v>964.5</c:v>
                </c:pt>
                <c:pt idx="131">
                  <c:v>975.2</c:v>
                </c:pt>
                <c:pt idx="132">
                  <c:v>979</c:v>
                </c:pt>
                <c:pt idx="133">
                  <c:v>983.1</c:v>
                </c:pt>
                <c:pt idx="134">
                  <c:v>987.4</c:v>
                </c:pt>
                <c:pt idx="135">
                  <c:v>998.9</c:v>
                </c:pt>
                <c:pt idx="136">
                  <c:v>1008.4</c:v>
                </c:pt>
                <c:pt idx="137">
                  <c:v>1020.8</c:v>
                </c:pt>
                <c:pt idx="138">
                  <c:v>1029.2</c:v>
                </c:pt>
                <c:pt idx="139">
                  <c:v>1039.7</c:v>
                </c:pt>
                <c:pt idx="140">
                  <c:v>1049.5</c:v>
                </c:pt>
                <c:pt idx="141">
                  <c:v>1062.4000000000001</c:v>
                </c:pt>
                <c:pt idx="142">
                  <c:v>1077.3</c:v>
                </c:pt>
                <c:pt idx="143">
                  <c:v>1088.2</c:v>
                </c:pt>
                <c:pt idx="144">
                  <c:v>1093.4000000000001</c:v>
                </c:pt>
                <c:pt idx="145">
                  <c:v>1106.3</c:v>
                </c:pt>
                <c:pt idx="146">
                  <c:v>1116.5</c:v>
                </c:pt>
                <c:pt idx="147">
                  <c:v>1125.3</c:v>
                </c:pt>
                <c:pt idx="148">
                  <c:v>1136.2</c:v>
                </c:pt>
                <c:pt idx="149">
                  <c:v>1138.5</c:v>
                </c:pt>
                <c:pt idx="150">
                  <c:v>1141.9000000000001</c:v>
                </c:pt>
                <c:pt idx="151">
                  <c:v>1149.0999999999999</c:v>
                </c:pt>
                <c:pt idx="152">
                  <c:v>1157.0999999999999</c:v>
                </c:pt>
                <c:pt idx="153">
                  <c:v>1166.9000000000001</c:v>
                </c:pt>
                <c:pt idx="154">
                  <c:v>1166.5999999999999</c:v>
                </c:pt>
                <c:pt idx="155">
                  <c:v>1168</c:v>
                </c:pt>
                <c:pt idx="156">
                  <c:v>1173.5</c:v>
                </c:pt>
                <c:pt idx="157">
                  <c:v>1178</c:v>
                </c:pt>
                <c:pt idx="158">
                  <c:v>1177</c:v>
                </c:pt>
                <c:pt idx="159">
                  <c:v>1198.3</c:v>
                </c:pt>
                <c:pt idx="160">
                  <c:v>1212.3</c:v>
                </c:pt>
                <c:pt idx="161">
                  <c:v>1226.2</c:v>
                </c:pt>
                <c:pt idx="162">
                  <c:v>1241.8</c:v>
                </c:pt>
                <c:pt idx="163">
                  <c:v>1251.0999999999999</c:v>
                </c:pt>
                <c:pt idx="164">
                  <c:v>1261.5</c:v>
                </c:pt>
                <c:pt idx="165">
                  <c:v>1264</c:v>
                </c:pt>
                <c:pt idx="166">
                  <c:v>1271.9000000000001</c:v>
                </c:pt>
                <c:pt idx="167">
                  <c:v>1284.5</c:v>
                </c:pt>
                <c:pt idx="168">
                  <c:v>1300.8</c:v>
                </c:pt>
                <c:pt idx="169">
                  <c:v>1317.3</c:v>
                </c:pt>
                <c:pt idx="170">
                  <c:v>1342</c:v>
                </c:pt>
                <c:pt idx="171">
                  <c:v>1264.9000000000001</c:v>
                </c:pt>
                <c:pt idx="172">
                  <c:v>1299.2</c:v>
                </c:pt>
                <c:pt idx="173">
                  <c:v>1380.2</c:v>
                </c:pt>
                <c:pt idx="174">
                  <c:v>1387.3</c:v>
                </c:pt>
                <c:pt idx="175">
                  <c:v>1443.6</c:v>
                </c:pt>
                <c:pt idx="176">
                  <c:v>1474.8</c:v>
                </c:pt>
                <c:pt idx="177">
                  <c:v>1511.7</c:v>
                </c:pt>
                <c:pt idx="178">
                  <c:v>1556.9</c:v>
                </c:pt>
                <c:pt idx="179">
                  <c:v>1570.5</c:v>
                </c:pt>
                <c:pt idx="180">
                  <c:v>1581.5</c:v>
                </c:pt>
                <c:pt idx="181">
                  <c:v>1594.5</c:v>
                </c:pt>
                <c:pt idx="182">
                  <c:v>1612.1</c:v>
                </c:pt>
                <c:pt idx="183">
                  <c:v>1629.2</c:v>
                </c:pt>
                <c:pt idx="184">
                  <c:v>1644.3</c:v>
                </c:pt>
                <c:pt idx="185">
                  <c:v>1671.7</c:v>
                </c:pt>
                <c:pt idx="186">
                  <c:v>1698.9</c:v>
                </c:pt>
                <c:pt idx="187">
                  <c:v>1729.8</c:v>
                </c:pt>
                <c:pt idx="188">
                  <c:v>1763</c:v>
                </c:pt>
                <c:pt idx="189">
                  <c:v>1803</c:v>
                </c:pt>
                <c:pt idx="190">
                  <c:v>1824.5</c:v>
                </c:pt>
                <c:pt idx="191">
                  <c:v>1852.1</c:v>
                </c:pt>
                <c:pt idx="192">
                  <c:v>1877.8</c:v>
                </c:pt>
                <c:pt idx="193">
                  <c:v>1913.4</c:v>
                </c:pt>
                <c:pt idx="194">
                  <c:v>1934.9</c:v>
                </c:pt>
                <c:pt idx="195">
                  <c:v>1946.6</c:v>
                </c:pt>
                <c:pt idx="196">
                  <c:v>1955.5</c:v>
                </c:pt>
                <c:pt idx="197">
                  <c:v>1960.3</c:v>
                </c:pt>
                <c:pt idx="198">
                  <c:v>1957</c:v>
                </c:pt>
                <c:pt idx="199">
                  <c:v>1950.6</c:v>
                </c:pt>
                <c:pt idx="200">
                  <c:v>1949.2</c:v>
                </c:pt>
                <c:pt idx="201">
                  <c:v>1949.2</c:v>
                </c:pt>
                <c:pt idx="202">
                  <c:v>1935.6</c:v>
                </c:pt>
                <c:pt idx="203">
                  <c:v>1933.4</c:v>
                </c:pt>
                <c:pt idx="204">
                  <c:v>1933.2</c:v>
                </c:pt>
                <c:pt idx="205">
                  <c:v>1928.4</c:v>
                </c:pt>
                <c:pt idx="206">
                  <c:v>1918.2</c:v>
                </c:pt>
                <c:pt idx="207">
                  <c:v>1917.9</c:v>
                </c:pt>
                <c:pt idx="208">
                  <c:v>1911.8</c:v>
                </c:pt>
                <c:pt idx="209">
                  <c:v>1903.1</c:v>
                </c:pt>
                <c:pt idx="210">
                  <c:v>1893.4</c:v>
                </c:pt>
                <c:pt idx="211">
                  <c:v>1887.9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5D7-4EAE-A100-A96DD8B88B97}"/>
            </c:ext>
          </c:extLst>
        </c:ser>
        <c:ser>
          <c:idx val="2"/>
          <c:order val="2"/>
          <c:tx>
            <c:strRef>
              <c:f>'Warehousing jobs'!$D$1</c:f>
              <c:strCache>
                <c:ptCount val="1"/>
                <c:pt idx="0">
                  <c:v> February 2020</c:v>
                </c:pt>
              </c:strCache>
            </c:strRef>
          </c:tx>
          <c:spPr>
            <a:ln w="38100" cap="rnd">
              <a:solidFill>
                <a:schemeClr val="tx1"/>
              </a:solidFill>
              <a:prstDash val="sysDot"/>
              <a:rou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marker>
            <c:symbol val="none"/>
          </c:marker>
          <c:cat>
            <c:strRef>
              <c:f>'Warehousing jobs'!$A$2:$A$214</c:f>
              <c:strCache>
                <c:ptCount val="212"/>
                <c:pt idx="0">
                  <c:v>2006</c:v>
                </c:pt>
                <c:pt idx="1">
                  <c:v>Feb-06</c:v>
                </c:pt>
                <c:pt idx="2">
                  <c:v>Mar-06</c:v>
                </c:pt>
                <c:pt idx="3">
                  <c:v>Apr-06</c:v>
                </c:pt>
                <c:pt idx="4">
                  <c:v>May-06</c:v>
                </c:pt>
                <c:pt idx="5">
                  <c:v>Jun-06</c:v>
                </c:pt>
                <c:pt idx="6">
                  <c:v>Jul-06</c:v>
                </c:pt>
                <c:pt idx="7">
                  <c:v>Aug-06</c:v>
                </c:pt>
                <c:pt idx="8">
                  <c:v>Sep-06</c:v>
                </c:pt>
                <c:pt idx="9">
                  <c:v>Oct-06</c:v>
                </c:pt>
                <c:pt idx="10">
                  <c:v>Nov-06</c:v>
                </c:pt>
                <c:pt idx="11">
                  <c:v>Dec-06</c:v>
                </c:pt>
                <c:pt idx="12">
                  <c:v>2007</c:v>
                </c:pt>
                <c:pt idx="13">
                  <c:v>Feb-07</c:v>
                </c:pt>
                <c:pt idx="14">
                  <c:v>Mar-07</c:v>
                </c:pt>
                <c:pt idx="15">
                  <c:v>Apr-07</c:v>
                </c:pt>
                <c:pt idx="16">
                  <c:v>May-07</c:v>
                </c:pt>
                <c:pt idx="17">
                  <c:v>Jun-07</c:v>
                </c:pt>
                <c:pt idx="18">
                  <c:v>Jul-07</c:v>
                </c:pt>
                <c:pt idx="19">
                  <c:v>Aug-07</c:v>
                </c:pt>
                <c:pt idx="20">
                  <c:v>Sep-07</c:v>
                </c:pt>
                <c:pt idx="21">
                  <c:v>Oct-07</c:v>
                </c:pt>
                <c:pt idx="22">
                  <c:v>Nov-07</c:v>
                </c:pt>
                <c:pt idx="23">
                  <c:v>Dec-07</c:v>
                </c:pt>
                <c:pt idx="24">
                  <c:v>2008</c:v>
                </c:pt>
                <c:pt idx="25">
                  <c:v>Feb-08</c:v>
                </c:pt>
                <c:pt idx="26">
                  <c:v>Mar-08</c:v>
                </c:pt>
                <c:pt idx="27">
                  <c:v>Apr-08</c:v>
                </c:pt>
                <c:pt idx="28">
                  <c:v>May-08</c:v>
                </c:pt>
                <c:pt idx="29">
                  <c:v>Jun-08</c:v>
                </c:pt>
                <c:pt idx="30">
                  <c:v>Jul-08</c:v>
                </c:pt>
                <c:pt idx="31">
                  <c:v>Aug-08</c:v>
                </c:pt>
                <c:pt idx="32">
                  <c:v>Sep-08</c:v>
                </c:pt>
                <c:pt idx="33">
                  <c:v>Oct-08</c:v>
                </c:pt>
                <c:pt idx="34">
                  <c:v>Nov-08</c:v>
                </c:pt>
                <c:pt idx="35">
                  <c:v>Dec-08</c:v>
                </c:pt>
                <c:pt idx="36">
                  <c:v>2009</c:v>
                </c:pt>
                <c:pt idx="37">
                  <c:v>Feb-09</c:v>
                </c:pt>
                <c:pt idx="38">
                  <c:v>Mar-09</c:v>
                </c:pt>
                <c:pt idx="39">
                  <c:v>Apr-09</c:v>
                </c:pt>
                <c:pt idx="40">
                  <c:v>May-09</c:v>
                </c:pt>
                <c:pt idx="41">
                  <c:v>Jun-09</c:v>
                </c:pt>
                <c:pt idx="42">
                  <c:v>Jul-09</c:v>
                </c:pt>
                <c:pt idx="43">
                  <c:v>Aug-09</c:v>
                </c:pt>
                <c:pt idx="44">
                  <c:v>Sep-09</c:v>
                </c:pt>
                <c:pt idx="45">
                  <c:v>Oct-09</c:v>
                </c:pt>
                <c:pt idx="46">
                  <c:v>Nov-09</c:v>
                </c:pt>
                <c:pt idx="47">
                  <c:v>Dec-09</c:v>
                </c:pt>
                <c:pt idx="48">
                  <c:v>2010</c:v>
                </c:pt>
                <c:pt idx="49">
                  <c:v>Feb-10</c:v>
                </c:pt>
                <c:pt idx="50">
                  <c:v>Mar-10</c:v>
                </c:pt>
                <c:pt idx="51">
                  <c:v>Apr-10</c:v>
                </c:pt>
                <c:pt idx="52">
                  <c:v>May-10</c:v>
                </c:pt>
                <c:pt idx="53">
                  <c:v>Jun-10</c:v>
                </c:pt>
                <c:pt idx="54">
                  <c:v>Jul-10</c:v>
                </c:pt>
                <c:pt idx="55">
                  <c:v>Aug-10</c:v>
                </c:pt>
                <c:pt idx="56">
                  <c:v>Sep-10</c:v>
                </c:pt>
                <c:pt idx="57">
                  <c:v>Oct-10</c:v>
                </c:pt>
                <c:pt idx="58">
                  <c:v>Nov-10</c:v>
                </c:pt>
                <c:pt idx="59">
                  <c:v>Dec-10</c:v>
                </c:pt>
                <c:pt idx="60">
                  <c:v>2011</c:v>
                </c:pt>
                <c:pt idx="61">
                  <c:v>Feb-11</c:v>
                </c:pt>
                <c:pt idx="62">
                  <c:v>Mar-11</c:v>
                </c:pt>
                <c:pt idx="63">
                  <c:v>Apr-11</c:v>
                </c:pt>
                <c:pt idx="64">
                  <c:v>May-11</c:v>
                </c:pt>
                <c:pt idx="65">
                  <c:v>Jun-11</c:v>
                </c:pt>
                <c:pt idx="66">
                  <c:v>Jul-11</c:v>
                </c:pt>
                <c:pt idx="67">
                  <c:v>Aug-11</c:v>
                </c:pt>
                <c:pt idx="68">
                  <c:v>Sep-11</c:v>
                </c:pt>
                <c:pt idx="69">
                  <c:v>Oct-11</c:v>
                </c:pt>
                <c:pt idx="70">
                  <c:v>Nov-11</c:v>
                </c:pt>
                <c:pt idx="71">
                  <c:v>Dec-11</c:v>
                </c:pt>
                <c:pt idx="72">
                  <c:v>2012</c:v>
                </c:pt>
                <c:pt idx="73">
                  <c:v>Feb-12</c:v>
                </c:pt>
                <c:pt idx="74">
                  <c:v>Mar-12</c:v>
                </c:pt>
                <c:pt idx="75">
                  <c:v>Apr-12</c:v>
                </c:pt>
                <c:pt idx="76">
                  <c:v>May-12</c:v>
                </c:pt>
                <c:pt idx="77">
                  <c:v>Jun-12</c:v>
                </c:pt>
                <c:pt idx="78">
                  <c:v>Jul-12</c:v>
                </c:pt>
                <c:pt idx="79">
                  <c:v>Aug-12</c:v>
                </c:pt>
                <c:pt idx="80">
                  <c:v>Sep-12</c:v>
                </c:pt>
                <c:pt idx="81">
                  <c:v>Oct-12</c:v>
                </c:pt>
                <c:pt idx="82">
                  <c:v>Nov-12</c:v>
                </c:pt>
                <c:pt idx="83">
                  <c:v>Dec-12</c:v>
                </c:pt>
                <c:pt idx="84">
                  <c:v>2013</c:v>
                </c:pt>
                <c:pt idx="85">
                  <c:v>Feb-13</c:v>
                </c:pt>
                <c:pt idx="86">
                  <c:v>Mar-13</c:v>
                </c:pt>
                <c:pt idx="87">
                  <c:v>Apr-13</c:v>
                </c:pt>
                <c:pt idx="88">
                  <c:v>May-13</c:v>
                </c:pt>
                <c:pt idx="89">
                  <c:v>Jun-13</c:v>
                </c:pt>
                <c:pt idx="90">
                  <c:v>Jul-13</c:v>
                </c:pt>
                <c:pt idx="91">
                  <c:v>Aug-13</c:v>
                </c:pt>
                <c:pt idx="92">
                  <c:v>Sep-13</c:v>
                </c:pt>
                <c:pt idx="93">
                  <c:v>Oct-13</c:v>
                </c:pt>
                <c:pt idx="94">
                  <c:v>Nov-13</c:v>
                </c:pt>
                <c:pt idx="95">
                  <c:v>Dec-13</c:v>
                </c:pt>
                <c:pt idx="96">
                  <c:v>2014</c:v>
                </c:pt>
                <c:pt idx="97">
                  <c:v>Feb-14</c:v>
                </c:pt>
                <c:pt idx="98">
                  <c:v>Mar-14</c:v>
                </c:pt>
                <c:pt idx="99">
                  <c:v>Apr-14</c:v>
                </c:pt>
                <c:pt idx="100">
                  <c:v>May-14</c:v>
                </c:pt>
                <c:pt idx="101">
                  <c:v>Jun-14</c:v>
                </c:pt>
                <c:pt idx="102">
                  <c:v>Jul-14</c:v>
                </c:pt>
                <c:pt idx="103">
                  <c:v>Aug-14</c:v>
                </c:pt>
                <c:pt idx="104">
                  <c:v>Sep-14</c:v>
                </c:pt>
                <c:pt idx="105">
                  <c:v>Oct-14</c:v>
                </c:pt>
                <c:pt idx="106">
                  <c:v>Nov-14</c:v>
                </c:pt>
                <c:pt idx="107">
                  <c:v>Dec-14</c:v>
                </c:pt>
                <c:pt idx="108">
                  <c:v>2015</c:v>
                </c:pt>
                <c:pt idx="109">
                  <c:v>Feb-15</c:v>
                </c:pt>
                <c:pt idx="110">
                  <c:v>Mar-15</c:v>
                </c:pt>
                <c:pt idx="111">
                  <c:v>Apr-15</c:v>
                </c:pt>
                <c:pt idx="112">
                  <c:v>May-15</c:v>
                </c:pt>
                <c:pt idx="113">
                  <c:v>Jun-15</c:v>
                </c:pt>
                <c:pt idx="114">
                  <c:v>Jul-15</c:v>
                </c:pt>
                <c:pt idx="115">
                  <c:v>Aug-15</c:v>
                </c:pt>
                <c:pt idx="116">
                  <c:v>Sep-15</c:v>
                </c:pt>
                <c:pt idx="117">
                  <c:v>Oct-15</c:v>
                </c:pt>
                <c:pt idx="118">
                  <c:v>Nov-15</c:v>
                </c:pt>
                <c:pt idx="119">
                  <c:v>Dec-15</c:v>
                </c:pt>
                <c:pt idx="120">
                  <c:v>2016</c:v>
                </c:pt>
                <c:pt idx="121">
                  <c:v>Feb-16</c:v>
                </c:pt>
                <c:pt idx="122">
                  <c:v>Mar-16</c:v>
                </c:pt>
                <c:pt idx="123">
                  <c:v>Apr-16</c:v>
                </c:pt>
                <c:pt idx="124">
                  <c:v>May-16</c:v>
                </c:pt>
                <c:pt idx="125">
                  <c:v>Jun-16</c:v>
                </c:pt>
                <c:pt idx="126">
                  <c:v>Jul-16</c:v>
                </c:pt>
                <c:pt idx="127">
                  <c:v>Aug-16</c:v>
                </c:pt>
                <c:pt idx="128">
                  <c:v>Sep-16</c:v>
                </c:pt>
                <c:pt idx="129">
                  <c:v>Oct-16</c:v>
                </c:pt>
                <c:pt idx="130">
                  <c:v>Nov-16</c:v>
                </c:pt>
                <c:pt idx="131">
                  <c:v>Dec-16</c:v>
                </c:pt>
                <c:pt idx="132">
                  <c:v>2017</c:v>
                </c:pt>
                <c:pt idx="133">
                  <c:v>Feb-17</c:v>
                </c:pt>
                <c:pt idx="134">
                  <c:v>Mar-17</c:v>
                </c:pt>
                <c:pt idx="135">
                  <c:v>Apr-17</c:v>
                </c:pt>
                <c:pt idx="136">
                  <c:v>May-17</c:v>
                </c:pt>
                <c:pt idx="137">
                  <c:v>Jun-17</c:v>
                </c:pt>
                <c:pt idx="138">
                  <c:v>Jul-17</c:v>
                </c:pt>
                <c:pt idx="139">
                  <c:v>Aug-17</c:v>
                </c:pt>
                <c:pt idx="140">
                  <c:v>Sep-17</c:v>
                </c:pt>
                <c:pt idx="141">
                  <c:v>Oct-17</c:v>
                </c:pt>
                <c:pt idx="142">
                  <c:v>Nov-17</c:v>
                </c:pt>
                <c:pt idx="143">
                  <c:v>Dec-17</c:v>
                </c:pt>
                <c:pt idx="144">
                  <c:v>2018</c:v>
                </c:pt>
                <c:pt idx="145">
                  <c:v>Feb-18</c:v>
                </c:pt>
                <c:pt idx="146">
                  <c:v>Mar-18</c:v>
                </c:pt>
                <c:pt idx="147">
                  <c:v>Apr-18</c:v>
                </c:pt>
                <c:pt idx="148">
                  <c:v>May-18</c:v>
                </c:pt>
                <c:pt idx="149">
                  <c:v>Jun-18</c:v>
                </c:pt>
                <c:pt idx="150">
                  <c:v>Jul-18</c:v>
                </c:pt>
                <c:pt idx="151">
                  <c:v>Aug-18</c:v>
                </c:pt>
                <c:pt idx="152">
                  <c:v>Sep-18</c:v>
                </c:pt>
                <c:pt idx="153">
                  <c:v>Oct-18</c:v>
                </c:pt>
                <c:pt idx="154">
                  <c:v>Nov-18</c:v>
                </c:pt>
                <c:pt idx="155">
                  <c:v>Dec-18</c:v>
                </c:pt>
                <c:pt idx="156">
                  <c:v>2019</c:v>
                </c:pt>
                <c:pt idx="157">
                  <c:v>Feb-19</c:v>
                </c:pt>
                <c:pt idx="158">
                  <c:v>Mar-19</c:v>
                </c:pt>
                <c:pt idx="159">
                  <c:v>Apr-19</c:v>
                </c:pt>
                <c:pt idx="160">
                  <c:v>May-19</c:v>
                </c:pt>
                <c:pt idx="161">
                  <c:v>Jun-19</c:v>
                </c:pt>
                <c:pt idx="162">
                  <c:v>Jul-19</c:v>
                </c:pt>
                <c:pt idx="163">
                  <c:v>Aug-19</c:v>
                </c:pt>
                <c:pt idx="164">
                  <c:v>Sep-19</c:v>
                </c:pt>
                <c:pt idx="165">
                  <c:v>Oct-19</c:v>
                </c:pt>
                <c:pt idx="166">
                  <c:v>Nov-19</c:v>
                </c:pt>
                <c:pt idx="167">
                  <c:v>Dec-19</c:v>
                </c:pt>
                <c:pt idx="168">
                  <c:v>2020</c:v>
                </c:pt>
                <c:pt idx="169">
                  <c:v>Feb-20</c:v>
                </c:pt>
                <c:pt idx="170">
                  <c:v>Mar-20</c:v>
                </c:pt>
                <c:pt idx="171">
                  <c:v>Apr-20</c:v>
                </c:pt>
                <c:pt idx="172">
                  <c:v>May-20</c:v>
                </c:pt>
                <c:pt idx="173">
                  <c:v>Jun-20</c:v>
                </c:pt>
                <c:pt idx="174">
                  <c:v>Jul-20</c:v>
                </c:pt>
                <c:pt idx="175">
                  <c:v>Aug-20</c:v>
                </c:pt>
                <c:pt idx="176">
                  <c:v>Sep-20</c:v>
                </c:pt>
                <c:pt idx="177">
                  <c:v>Oct-20</c:v>
                </c:pt>
                <c:pt idx="178">
                  <c:v>Nov-20</c:v>
                </c:pt>
                <c:pt idx="179">
                  <c:v>Dec-20</c:v>
                </c:pt>
                <c:pt idx="180">
                  <c:v>2021</c:v>
                </c:pt>
                <c:pt idx="181">
                  <c:v>Feb-21</c:v>
                </c:pt>
                <c:pt idx="182">
                  <c:v>Mar-21</c:v>
                </c:pt>
                <c:pt idx="183">
                  <c:v>Apr-21</c:v>
                </c:pt>
                <c:pt idx="184">
                  <c:v>May-21</c:v>
                </c:pt>
                <c:pt idx="185">
                  <c:v>Jun-21</c:v>
                </c:pt>
                <c:pt idx="186">
                  <c:v>Jul-21</c:v>
                </c:pt>
                <c:pt idx="187">
                  <c:v>Aug-21</c:v>
                </c:pt>
                <c:pt idx="188">
                  <c:v>Sep-21</c:v>
                </c:pt>
                <c:pt idx="189">
                  <c:v>Oct-21</c:v>
                </c:pt>
                <c:pt idx="190">
                  <c:v>Nov-21</c:v>
                </c:pt>
                <c:pt idx="191">
                  <c:v>Dec-21</c:v>
                </c:pt>
                <c:pt idx="192">
                  <c:v>2022</c:v>
                </c:pt>
                <c:pt idx="193">
                  <c:v>Feb-22</c:v>
                </c:pt>
                <c:pt idx="194">
                  <c:v>Mar-22</c:v>
                </c:pt>
                <c:pt idx="195">
                  <c:v>Apr-22</c:v>
                </c:pt>
                <c:pt idx="196">
                  <c:v>May-22</c:v>
                </c:pt>
                <c:pt idx="197">
                  <c:v>Jun-22</c:v>
                </c:pt>
                <c:pt idx="198">
                  <c:v>Jul-22</c:v>
                </c:pt>
                <c:pt idx="199">
                  <c:v>Aug-22</c:v>
                </c:pt>
                <c:pt idx="200">
                  <c:v>Sep-22</c:v>
                </c:pt>
                <c:pt idx="201">
                  <c:v>Oct-22</c:v>
                </c:pt>
                <c:pt idx="202">
                  <c:v>Nov-22</c:v>
                </c:pt>
                <c:pt idx="203">
                  <c:v>Dec-22</c:v>
                </c:pt>
                <c:pt idx="204">
                  <c:v>2023</c:v>
                </c:pt>
                <c:pt idx="205">
                  <c:v>Feb-23</c:v>
                </c:pt>
                <c:pt idx="206">
                  <c:v>Mar-23</c:v>
                </c:pt>
                <c:pt idx="207">
                  <c:v>Apr-23</c:v>
                </c:pt>
                <c:pt idx="208">
                  <c:v>May-23</c:v>
                </c:pt>
                <c:pt idx="209">
                  <c:v>Jun-23</c:v>
                </c:pt>
                <c:pt idx="210">
                  <c:v>Jul-23</c:v>
                </c:pt>
                <c:pt idx="211">
                  <c:v>Aug-23</c:v>
                </c:pt>
              </c:strCache>
            </c:strRef>
          </c:cat>
          <c:val>
            <c:numRef>
              <c:f>'Warehousing jobs'!$D$2:$D$214</c:f>
              <c:numCache>
                <c:formatCode>General</c:formatCode>
                <c:ptCount val="213"/>
                <c:pt idx="169">
                  <c:v>1317.3</c:v>
                </c:pt>
                <c:pt idx="170">
                  <c:v>1317.3</c:v>
                </c:pt>
                <c:pt idx="171">
                  <c:v>1317.3</c:v>
                </c:pt>
                <c:pt idx="172">
                  <c:v>1317.3</c:v>
                </c:pt>
                <c:pt idx="173">
                  <c:v>1317.3</c:v>
                </c:pt>
                <c:pt idx="174">
                  <c:v>1317.3</c:v>
                </c:pt>
                <c:pt idx="175">
                  <c:v>1317.3</c:v>
                </c:pt>
                <c:pt idx="176">
                  <c:v>1317.3</c:v>
                </c:pt>
                <c:pt idx="177">
                  <c:v>1317.3</c:v>
                </c:pt>
                <c:pt idx="178">
                  <c:v>1317.3</c:v>
                </c:pt>
                <c:pt idx="179">
                  <c:v>1317.3</c:v>
                </c:pt>
                <c:pt idx="180">
                  <c:v>1317.3</c:v>
                </c:pt>
                <c:pt idx="181">
                  <c:v>1317.3</c:v>
                </c:pt>
                <c:pt idx="182">
                  <c:v>1317.3</c:v>
                </c:pt>
                <c:pt idx="183">
                  <c:v>1317.3</c:v>
                </c:pt>
                <c:pt idx="184">
                  <c:v>1317.3</c:v>
                </c:pt>
                <c:pt idx="185">
                  <c:v>1317.3</c:v>
                </c:pt>
                <c:pt idx="186">
                  <c:v>1317.3</c:v>
                </c:pt>
                <c:pt idx="187">
                  <c:v>1317.3</c:v>
                </c:pt>
                <c:pt idx="188">
                  <c:v>1317.3</c:v>
                </c:pt>
                <c:pt idx="189">
                  <c:v>1317.3</c:v>
                </c:pt>
                <c:pt idx="190">
                  <c:v>1317.3</c:v>
                </c:pt>
                <c:pt idx="191">
                  <c:v>1317.3</c:v>
                </c:pt>
                <c:pt idx="192">
                  <c:v>1317.3</c:v>
                </c:pt>
                <c:pt idx="193">
                  <c:v>1317.3</c:v>
                </c:pt>
                <c:pt idx="194">
                  <c:v>1317.3</c:v>
                </c:pt>
                <c:pt idx="195">
                  <c:v>1317.3</c:v>
                </c:pt>
                <c:pt idx="196">
                  <c:v>1317.3</c:v>
                </c:pt>
                <c:pt idx="197">
                  <c:v>1317.3</c:v>
                </c:pt>
                <c:pt idx="198">
                  <c:v>1317.3</c:v>
                </c:pt>
                <c:pt idx="199">
                  <c:v>1317.3</c:v>
                </c:pt>
                <c:pt idx="200">
                  <c:v>1317.3</c:v>
                </c:pt>
                <c:pt idx="201">
                  <c:v>1317.3</c:v>
                </c:pt>
                <c:pt idx="202">
                  <c:v>1317.3</c:v>
                </c:pt>
                <c:pt idx="203">
                  <c:v>1317.3</c:v>
                </c:pt>
                <c:pt idx="204">
                  <c:v>1317.3</c:v>
                </c:pt>
                <c:pt idx="205">
                  <c:v>1317.3</c:v>
                </c:pt>
                <c:pt idx="206">
                  <c:v>1317.3</c:v>
                </c:pt>
                <c:pt idx="207">
                  <c:v>1317.3</c:v>
                </c:pt>
                <c:pt idx="208">
                  <c:v>1317.3</c:v>
                </c:pt>
                <c:pt idx="209">
                  <c:v>1317.3</c:v>
                </c:pt>
                <c:pt idx="210">
                  <c:v>1317.3</c:v>
                </c:pt>
                <c:pt idx="211">
                  <c:v>1317.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A5D7-4EAE-A100-A96DD8B88B9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491790992"/>
        <c:axId val="491790336"/>
      </c:lineChart>
      <c:catAx>
        <c:axId val="49179099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rgbClr val="7F7F7F"/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336"/>
        <c:crosses val="autoZero"/>
        <c:auto val="1"/>
        <c:lblAlgn val="ctr"/>
        <c:lblOffset val="100"/>
        <c:tickLblSkip val="12"/>
        <c:noMultiLvlLbl val="0"/>
      </c:catAx>
      <c:valAx>
        <c:axId val="491790336"/>
        <c:scaling>
          <c:orientation val="minMax"/>
          <c:max val="2000"/>
          <c:min val="400"/>
        </c:scaling>
        <c:delete val="0"/>
        <c:axPos val="l"/>
        <c:majorGridlines>
          <c:spPr>
            <a:ln w="9525" cap="flat" cmpd="sng" algn="ctr">
              <a:solidFill>
                <a:schemeClr val="bg2">
                  <a:lumMod val="90000"/>
                </a:schemeClr>
              </a:solidFill>
              <a:round/>
            </a:ln>
            <a:effectLst/>
          </c:spPr>
        </c:majorGridlines>
        <c:title>
          <c:tx>
            <c:rich>
              <a:bodyPr rot="-5400000" spcFirstLastPara="1" vertOverflow="ellipsis" vert="horz" wrap="squar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tx1">
                        <a:lumMod val="65000"/>
                        <a:lumOff val="3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r>
                  <a:rPr lang="en-US" sz="1400">
                    <a:solidFill>
                      <a:schemeClr val="tx1"/>
                    </a:solidFill>
                  </a:rPr>
                  <a:t>Thousands</a:t>
                </a:r>
              </a:p>
            </c:rich>
          </c:tx>
          <c:layout>
            <c:manualLayout>
              <c:xMode val="edge"/>
              <c:yMode val="edge"/>
              <c:x val="0"/>
              <c:y val="0.41519597550306209"/>
            </c:manualLayout>
          </c:layout>
          <c:overlay val="0"/>
          <c:spPr>
            <a:noFill/>
            <a:ln>
              <a:noFill/>
            </a:ln>
            <a:effectLst/>
          </c:spPr>
          <c:txPr>
            <a:bodyPr rot="-5400000" spcFirstLastPara="1" vertOverflow="ellipsis" vert="horz" wrap="square" anchor="ctr" anchorCtr="1"/>
            <a:lstStyle/>
            <a:p>
              <a:pPr>
                <a:defRPr sz="1000" b="0" i="0" u="none" strike="noStrike" kern="1200" baseline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n-lt"/>
                  <a:ea typeface="+mn-ea"/>
                  <a:cs typeface="+mn-cs"/>
                </a:defRPr>
              </a:pPr>
              <a:endParaRPr lang="en-US"/>
            </a:p>
          </c:txPr>
        </c:title>
        <c:numFmt formatCode="#,##0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91790992"/>
        <c:crosses val="autoZero"/>
        <c:crossBetween val="between"/>
      </c:valAx>
      <c:valAx>
        <c:axId val="935490335"/>
        <c:scaling>
          <c:orientation val="minMax"/>
        </c:scaling>
        <c:delete val="0"/>
        <c:axPos val="r"/>
        <c:numFmt formatCode="0%" sourceLinked="0"/>
        <c:majorTickMark val="out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600" b="0" i="0" u="none" strike="noStrike" kern="1200" baseline="0">
                <a:solidFill>
                  <a:schemeClr val="tx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</a:defRPr>
            </a:pPr>
            <a:endParaRPr lang="en-US"/>
          </a:p>
        </c:txPr>
        <c:crossAx val="935478271"/>
        <c:crosses val="max"/>
        <c:crossBetween val="between"/>
      </c:valAx>
      <c:catAx>
        <c:axId val="935478271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935490335"/>
        <c:crosses val="autoZero"/>
        <c:auto val="1"/>
        <c:lblAlgn val="ctr"/>
        <c:lblOffset val="100"/>
        <c:noMultiLvlLbl val="0"/>
      </c:catAx>
      <c:spPr>
        <a:noFill/>
        <a:ln>
          <a:solidFill>
            <a:srgbClr val="7F7F7F"/>
          </a:solidFill>
        </a:ln>
        <a:effectLst/>
      </c:spPr>
    </c:plotArea>
    <c:legend>
      <c:legendPos val="r"/>
      <c:layout>
        <c:manualLayout>
          <c:xMode val="edge"/>
          <c:yMode val="edge"/>
          <c:x val="0.10734841568716953"/>
          <c:y val="7.5408573928258962E-2"/>
          <c:w val="0.43270008368519153"/>
          <c:h val="0.11876924759405075"/>
        </c:manualLayout>
      </c:layout>
      <c:overlay val="0"/>
      <c:spPr>
        <a:solidFill>
          <a:schemeClr val="bg1"/>
        </a:solidFill>
        <a:ln>
          <a:solidFill>
            <a:srgbClr val="7F7F7F"/>
          </a:solidFill>
        </a:ln>
        <a:effectLst>
          <a:outerShdw blurRad="50800" dist="38100" dir="2700000" algn="tl" rotWithShape="0">
            <a:prstClr val="black">
              <a:alpha val="40000"/>
            </a:prstClr>
          </a:outerShdw>
        </a:effectLst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en-US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1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0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7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8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9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1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0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3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6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7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9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0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2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4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8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32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7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8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9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7695</cdr:x>
      <cdr:y>0.15221</cdr:y>
    </cdr:from>
    <cdr:to>
      <cdr:x>0.7695</cdr:x>
      <cdr:y>0.59902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953F6762-1446-D2B6-25F0-9BBF9C034C48}"/>
            </a:ext>
          </a:extLst>
        </cdr:cNvPr>
        <cdr:cNvCxnSpPr/>
      </cdr:nvCxnSpPr>
      <cdr:spPr>
        <a:xfrm xmlns:a="http://schemas.openxmlformats.org/drawingml/2006/main">
          <a:off x="8091791" y="695917"/>
          <a:ext cx="0" cy="2042808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chemeClr val="tx1"/>
          </a:solidFill>
          <a:headEnd type="diamond" w="lg" len="lg"/>
          <a:tailEnd type="diamond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464</cdr:x>
      <cdr:y>0.14843</cdr:y>
    </cdr:from>
    <cdr:to>
      <cdr:x>0.9464</cdr:x>
      <cdr:y>0.17987</cdr:y>
    </cdr:to>
    <cdr:cxnSp macro="">
      <cdr:nvCxnSpPr>
        <cdr:cNvPr id="4" name="Straight Connector 3">
          <a:extLst xmlns:a="http://schemas.openxmlformats.org/drawingml/2006/main">
            <a:ext uri="{FF2B5EF4-FFF2-40B4-BE49-F238E27FC236}">
              <a16:creationId xmlns:a16="http://schemas.microsoft.com/office/drawing/2014/main" id="{7E7AA2CD-DECA-4A12-DE3D-A9559ACACBB1}"/>
            </a:ext>
          </a:extLst>
        </cdr:cNvPr>
        <cdr:cNvCxnSpPr/>
      </cdr:nvCxnSpPr>
      <cdr:spPr>
        <a:xfrm xmlns:a="http://schemas.openxmlformats.org/drawingml/2006/main">
          <a:off x="9951937" y="678623"/>
          <a:ext cx="0" cy="143753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chemeClr val="tx1"/>
          </a:solidFill>
          <a:headEnd type="diamond" w="lg" len="lg"/>
          <a:tailEnd type="diamond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9678</cdr:x>
      <cdr:y>0.22813</cdr:y>
    </cdr:from>
    <cdr:to>
      <cdr:x>0.77356</cdr:x>
      <cdr:y>0.30218</cdr:y>
    </cdr:to>
    <cdr:sp macro="" textlink="">
      <cdr:nvSpPr>
        <cdr:cNvPr id="6" name="TextBox 2">
          <a:extLst xmlns:a="http://schemas.openxmlformats.org/drawingml/2006/main">
            <a:ext uri="{FF2B5EF4-FFF2-40B4-BE49-F238E27FC236}">
              <a16:creationId xmlns:a16="http://schemas.microsoft.com/office/drawing/2014/main" id="{C5A0800C-79AB-F313-3336-5231924871F4}"/>
            </a:ext>
          </a:extLst>
        </cdr:cNvPr>
        <cdr:cNvSpPr txBox="1"/>
      </cdr:nvSpPr>
      <cdr:spPr>
        <a:xfrm xmlns:a="http://schemas.openxmlformats.org/drawingml/2006/main">
          <a:off x="7327090" y="1043022"/>
          <a:ext cx="807396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/>
            <a:t>+48.9%</a:t>
          </a:r>
        </a:p>
      </cdr:txBody>
    </cdr:sp>
  </cdr:relSizeAnchor>
  <cdr:relSizeAnchor xmlns:cdr="http://schemas.openxmlformats.org/drawingml/2006/chartDrawing">
    <cdr:from>
      <cdr:x>0.88791</cdr:x>
      <cdr:y>0.07069</cdr:y>
    </cdr:from>
    <cdr:to>
      <cdr:x>0.94999</cdr:x>
      <cdr:y>0.14474</cdr:y>
    </cdr:to>
    <cdr:sp macro="" textlink="">
      <cdr:nvSpPr>
        <cdr:cNvPr id="7" name="TextBox 2">
          <a:extLst xmlns:a="http://schemas.openxmlformats.org/drawingml/2006/main">
            <a:ext uri="{FF2B5EF4-FFF2-40B4-BE49-F238E27FC236}">
              <a16:creationId xmlns:a16="http://schemas.microsoft.com/office/drawing/2014/main" id="{C5A0800C-79AB-F313-3336-5231924871F4}"/>
            </a:ext>
          </a:extLst>
        </cdr:cNvPr>
        <cdr:cNvSpPr txBox="1"/>
      </cdr:nvSpPr>
      <cdr:spPr>
        <a:xfrm xmlns:a="http://schemas.openxmlformats.org/drawingml/2006/main">
          <a:off x="9336932" y="323175"/>
          <a:ext cx="652821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defPPr>
            <a:defRPr lang="en-US"/>
          </a:defPPr>
          <a:lvl1pPr marL="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/>
            <a:t>-2.6%</a:t>
          </a:r>
        </a:p>
      </cdr:txBody>
    </cdr:sp>
  </cdr:relSizeAnchor>
</c:userShapes>
</file>

<file path=ppt/drawings/drawing2.xml><?xml version="1.0" encoding="utf-8"?>
<c:userShapes xmlns:c="http://schemas.openxmlformats.org/drawingml/2006/chart">
  <cdr:relSizeAnchor xmlns:cdr="http://schemas.openxmlformats.org/drawingml/2006/chartDrawing">
    <cdr:from>
      <cdr:x>0.75662</cdr:x>
      <cdr:y>0.17942</cdr:y>
    </cdr:from>
    <cdr:to>
      <cdr:x>0.75662</cdr:x>
      <cdr:y>0.27541</cdr:y>
    </cdr:to>
    <cdr:cxnSp macro="">
      <cdr:nvCxnSpPr>
        <cdr:cNvPr id="2" name="Straight Connector 1">
          <a:extLst xmlns:a="http://schemas.openxmlformats.org/drawingml/2006/main">
            <a:ext uri="{FF2B5EF4-FFF2-40B4-BE49-F238E27FC236}">
              <a16:creationId xmlns:a16="http://schemas.microsoft.com/office/drawing/2014/main" id="{389820F2-56A1-83DA-20D9-6ECA3B6B6F59}"/>
            </a:ext>
          </a:extLst>
        </cdr:cNvPr>
        <cdr:cNvCxnSpPr/>
      </cdr:nvCxnSpPr>
      <cdr:spPr>
        <a:xfrm xmlns:a="http://schemas.openxmlformats.org/drawingml/2006/main">
          <a:off x="8308339" y="763621"/>
          <a:ext cx="0" cy="408562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chemeClr val="tx1"/>
          </a:solidFill>
          <a:headEnd type="diamond" w="lg" len="lg"/>
          <a:tailEnd type="diamond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4308</cdr:x>
      <cdr:y>0.24113</cdr:y>
    </cdr:from>
    <cdr:to>
      <cdr:x>0.94308</cdr:x>
      <cdr:y>0.27601</cdr:y>
    </cdr:to>
    <cdr:cxnSp macro="">
      <cdr:nvCxnSpPr>
        <cdr:cNvPr id="3" name="Straight Connector 2">
          <a:extLst xmlns:a="http://schemas.openxmlformats.org/drawingml/2006/main">
            <a:ext uri="{FF2B5EF4-FFF2-40B4-BE49-F238E27FC236}">
              <a16:creationId xmlns:a16="http://schemas.microsoft.com/office/drawing/2014/main" id="{308B8620-21AF-05DB-B53A-C14D735BE55C}"/>
            </a:ext>
          </a:extLst>
        </cdr:cNvPr>
        <cdr:cNvCxnSpPr/>
      </cdr:nvCxnSpPr>
      <cdr:spPr>
        <a:xfrm xmlns:a="http://schemas.openxmlformats.org/drawingml/2006/main">
          <a:off x="10355820" y="1026269"/>
          <a:ext cx="0" cy="148465"/>
        </a:xfrm>
        <a:prstGeom xmlns:a="http://schemas.openxmlformats.org/drawingml/2006/main" prst="line">
          <a:avLst/>
        </a:prstGeom>
        <a:ln xmlns:a="http://schemas.openxmlformats.org/drawingml/2006/main" w="22225">
          <a:solidFill>
            <a:schemeClr val="tx1"/>
          </a:solidFill>
          <a:headEnd type="diamond" w="med" len="med"/>
          <a:tailEnd type="diamond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69711</cdr:x>
      <cdr:y>0.19072</cdr:y>
    </cdr:from>
    <cdr:to>
      <cdr:x>0.76613</cdr:x>
      <cdr:y>0.27027</cdr:y>
    </cdr:to>
    <cdr:sp macro="" textlink="">
      <cdr:nvSpPr>
        <cdr:cNvPr id="4" name="TextBox 2">
          <a:extLst xmlns:a="http://schemas.openxmlformats.org/drawingml/2006/main">
            <a:ext uri="{FF2B5EF4-FFF2-40B4-BE49-F238E27FC236}">
              <a16:creationId xmlns:a16="http://schemas.microsoft.com/office/drawing/2014/main" id="{99C7FC7C-D2B3-51AD-34AE-5F95CA1B384B}"/>
            </a:ext>
          </a:extLst>
        </cdr:cNvPr>
        <cdr:cNvSpPr txBox="1"/>
      </cdr:nvSpPr>
      <cdr:spPr>
        <a:xfrm xmlns:a="http://schemas.openxmlformats.org/drawingml/2006/main">
          <a:off x="7654895" y="811720"/>
          <a:ext cx="757909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/>
            <a:t>-2.6%</a:t>
          </a:r>
        </a:p>
      </cdr:txBody>
    </cdr:sp>
  </cdr:relSizeAnchor>
  <cdr:relSizeAnchor xmlns:cdr="http://schemas.openxmlformats.org/drawingml/2006/chartDrawing">
    <cdr:from>
      <cdr:x>0.93976</cdr:x>
      <cdr:y>0.20976</cdr:y>
    </cdr:from>
    <cdr:to>
      <cdr:x>1</cdr:x>
      <cdr:y>0.2893</cdr:y>
    </cdr:to>
    <cdr:sp macro="" textlink="">
      <cdr:nvSpPr>
        <cdr:cNvPr id="5" name="TextBox 2">
          <a:extLst xmlns:a="http://schemas.openxmlformats.org/drawingml/2006/main">
            <a:ext uri="{FF2B5EF4-FFF2-40B4-BE49-F238E27FC236}">
              <a16:creationId xmlns:a16="http://schemas.microsoft.com/office/drawing/2014/main" id="{49B5DF37-30BE-780C-AF29-E4B6BFD14574}"/>
            </a:ext>
          </a:extLst>
        </cdr:cNvPr>
        <cdr:cNvSpPr txBox="1"/>
      </cdr:nvSpPr>
      <cdr:spPr>
        <a:xfrm xmlns:a="http://schemas.openxmlformats.org/drawingml/2006/main">
          <a:off x="10319427" y="892753"/>
          <a:ext cx="661479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r"/>
          <a:r>
            <a:rPr lang="en-US" sz="1600" b="1" dirty="0"/>
            <a:t>-</a:t>
          </a:r>
          <a:r>
            <a:rPr lang="en-US" sz="1400" b="1" dirty="0"/>
            <a:t>0.9%</a:t>
          </a:r>
        </a:p>
      </cdr:txBody>
    </cdr:sp>
  </cdr:relSizeAnchor>
</c:userShapes>
</file>

<file path=ppt/drawings/drawing3.xml><?xml version="1.0" encoding="utf-8"?>
<c:userShapes xmlns:c="http://schemas.openxmlformats.org/drawingml/2006/chart">
  <cdr:relSizeAnchor xmlns:cdr="http://schemas.openxmlformats.org/drawingml/2006/chartDrawing">
    <cdr:from>
      <cdr:x>0.77156</cdr:x>
      <cdr:y>0.12154</cdr:y>
    </cdr:from>
    <cdr:to>
      <cdr:x>0.77156</cdr:x>
      <cdr:y>0.41882</cdr:y>
    </cdr:to>
    <cdr:cxnSp macro="">
      <cdr:nvCxnSpPr>
        <cdr:cNvPr id="2" name="Straight Connector 1">
          <a:extLst xmlns:a="http://schemas.openxmlformats.org/drawingml/2006/main">
            <a:ext uri="{FF2B5EF4-FFF2-40B4-BE49-F238E27FC236}">
              <a16:creationId xmlns:a16="http://schemas.microsoft.com/office/drawing/2014/main" id="{6CC23CFC-32B2-294D-667A-102B76D0855D}"/>
            </a:ext>
          </a:extLst>
        </cdr:cNvPr>
        <cdr:cNvCxnSpPr/>
      </cdr:nvCxnSpPr>
      <cdr:spPr>
        <a:xfrm xmlns:a="http://schemas.openxmlformats.org/drawingml/2006/main">
          <a:off x="8113408" y="517269"/>
          <a:ext cx="0" cy="1265267"/>
        </a:xfrm>
        <a:prstGeom xmlns:a="http://schemas.openxmlformats.org/drawingml/2006/main" prst="line">
          <a:avLst/>
        </a:prstGeom>
        <a:ln xmlns:a="http://schemas.openxmlformats.org/drawingml/2006/main" w="28575">
          <a:solidFill>
            <a:schemeClr val="tx1"/>
          </a:solidFill>
          <a:headEnd type="diamond" w="lg" len="lg"/>
          <a:tailEnd type="diamond" w="lg" len="lg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71122</cdr:x>
      <cdr:y>0.20309</cdr:y>
    </cdr:from>
    <cdr:to>
      <cdr:x>0.77562</cdr:x>
      <cdr:y>0.28264</cdr:y>
    </cdr:to>
    <cdr:sp macro="" textlink="">
      <cdr:nvSpPr>
        <cdr:cNvPr id="3" name="TextBox 2">
          <a:extLst xmlns:a="http://schemas.openxmlformats.org/drawingml/2006/main">
            <a:ext uri="{FF2B5EF4-FFF2-40B4-BE49-F238E27FC236}">
              <a16:creationId xmlns:a16="http://schemas.microsoft.com/office/drawing/2014/main" id="{6D07D3C7-23F3-5CFB-28A6-474D0ED3B841}"/>
            </a:ext>
          </a:extLst>
        </cdr:cNvPr>
        <cdr:cNvSpPr txBox="1"/>
      </cdr:nvSpPr>
      <cdr:spPr>
        <a:xfrm xmlns:a="http://schemas.openxmlformats.org/drawingml/2006/main">
          <a:off x="7478949" y="864374"/>
          <a:ext cx="677154" cy="338554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600" b="1" dirty="0"/>
            <a:t>+78%</a:t>
          </a:r>
        </a:p>
      </cdr:txBody>
    </cdr:sp>
  </cdr:relSizeAnchor>
  <cdr:relSizeAnchor xmlns:cdr="http://schemas.openxmlformats.org/drawingml/2006/chartDrawing">
    <cdr:from>
      <cdr:x>0.96377</cdr:x>
      <cdr:y>0.11141</cdr:y>
    </cdr:from>
    <cdr:to>
      <cdr:x>0.96418</cdr:x>
      <cdr:y>0.28227</cdr:y>
    </cdr:to>
    <cdr:cxnSp macro="">
      <cdr:nvCxnSpPr>
        <cdr:cNvPr id="5" name="Straight Connector 4">
          <a:extLst xmlns:a="http://schemas.openxmlformats.org/drawingml/2006/main">
            <a:ext uri="{FF2B5EF4-FFF2-40B4-BE49-F238E27FC236}">
              <a16:creationId xmlns:a16="http://schemas.microsoft.com/office/drawing/2014/main" id="{7352CC2B-C810-19E3-988C-EC19185209C9}"/>
            </a:ext>
          </a:extLst>
        </cdr:cNvPr>
        <cdr:cNvCxnSpPr/>
      </cdr:nvCxnSpPr>
      <cdr:spPr>
        <a:xfrm xmlns:a="http://schemas.openxmlformats.org/drawingml/2006/main" flipH="1">
          <a:off x="10134600" y="474181"/>
          <a:ext cx="4323" cy="727185"/>
        </a:xfrm>
        <a:prstGeom xmlns:a="http://schemas.openxmlformats.org/drawingml/2006/main" prst="line">
          <a:avLst/>
        </a:prstGeom>
        <a:ln xmlns:a="http://schemas.openxmlformats.org/drawingml/2006/main" w="22225">
          <a:solidFill>
            <a:schemeClr val="tx1"/>
          </a:solidFill>
          <a:headEnd type="diamond" w="med" len="med"/>
          <a:tailEnd type="diamond" w="med" len="med"/>
        </a:ln>
      </cdr:spPr>
      <cdr:style>
        <a:lnRef xmlns:a="http://schemas.openxmlformats.org/drawingml/2006/main" idx="1">
          <a:schemeClr val="accent1"/>
        </a:lnRef>
        <a:fillRef xmlns:a="http://schemas.openxmlformats.org/drawingml/2006/main" idx="0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tx1"/>
        </a:fontRef>
      </cdr:style>
    </cdr:cxnSp>
  </cdr:relSizeAnchor>
  <cdr:relSizeAnchor xmlns:cdr="http://schemas.openxmlformats.org/drawingml/2006/chartDrawing">
    <cdr:from>
      <cdr:x>0.91196</cdr:x>
      <cdr:y>0.18585</cdr:y>
    </cdr:from>
    <cdr:to>
      <cdr:x>0.97379</cdr:x>
      <cdr:y>0.25817</cdr:y>
    </cdr:to>
    <cdr:sp macro="" textlink="">
      <cdr:nvSpPr>
        <cdr:cNvPr id="6" name="TextBox 2">
          <a:extLst xmlns:a="http://schemas.openxmlformats.org/drawingml/2006/main">
            <a:ext uri="{FF2B5EF4-FFF2-40B4-BE49-F238E27FC236}">
              <a16:creationId xmlns:a16="http://schemas.microsoft.com/office/drawing/2014/main" id="{B1DBFB41-8F2D-B9B8-D317-B331FCE767F8}"/>
            </a:ext>
          </a:extLst>
        </cdr:cNvPr>
        <cdr:cNvSpPr txBox="1"/>
      </cdr:nvSpPr>
      <cdr:spPr>
        <a:xfrm xmlns:a="http://schemas.openxmlformats.org/drawingml/2006/main">
          <a:off x="9589851" y="791003"/>
          <a:ext cx="650133" cy="307777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>
          <a:spAutoFit/>
        </a:bodyPr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r>
            <a:rPr lang="en-US" sz="1400" b="1" dirty="0"/>
            <a:t>+35%</a:t>
          </a:r>
        </a:p>
      </cdr:txBody>
    </cdr:sp>
  </cdr:relSizeAnchor>
</c:userShapes>
</file>

<file path=ppt/drawings/drawing4.xml><?xml version="1.0" encoding="utf-8"?>
<c:userShapes xmlns:c="http://schemas.openxmlformats.org/drawingml/2006/chart">
  <cdr:relSizeAnchor xmlns:cdr="http://schemas.openxmlformats.org/drawingml/2006/chartDrawing">
    <cdr:from>
      <cdr:x>0.09511</cdr:x>
      <cdr:y>0.0375</cdr:y>
    </cdr:from>
    <cdr:to>
      <cdr:x>0.29138</cdr:x>
      <cdr:y>0.107</cdr:y>
    </cdr:to>
    <cdr:sp macro="" textlink="">
      <cdr:nvSpPr>
        <cdr:cNvPr id="3" name="TextBox 1">
          <a:extLst xmlns:a="http://schemas.openxmlformats.org/drawingml/2006/main">
            <a:ext uri="{FF2B5EF4-FFF2-40B4-BE49-F238E27FC236}">
              <a16:creationId xmlns:a16="http://schemas.microsoft.com/office/drawing/2014/main" id="{B180CBBE-BE3F-4CE1-AF02-954320827502}"/>
            </a:ext>
          </a:extLst>
        </cdr:cNvPr>
        <cdr:cNvSpPr txBox="1"/>
      </cdr:nvSpPr>
      <cdr:spPr>
        <a:xfrm xmlns:a="http://schemas.openxmlformats.org/drawingml/2006/main">
          <a:off x="1000125" y="171450"/>
          <a:ext cx="2063877" cy="317754"/>
        </a:xfrm>
        <a:prstGeom xmlns:a="http://schemas.openxmlformats.org/drawingml/2006/main" prst="rect">
          <a:avLst/>
        </a:prstGeom>
      </cdr:spPr>
      <cdr:txBody>
        <a:bodyPr xmlns:a="http://schemas.openxmlformats.org/drawingml/2006/main" wrap="square" rtlCol="0"/>
        <a:lstStyle xmlns:a="http://schemas.openxmlformats.org/drawingml/2006/main">
          <a:lvl1pPr marL="0" indent="0">
            <a:defRPr sz="1100">
              <a:latin typeface="+mn-lt"/>
              <a:ea typeface="+mn-ea"/>
              <a:cs typeface="+mn-cs"/>
            </a:defRPr>
          </a:lvl1pPr>
          <a:lvl2pPr marL="457200" indent="0">
            <a:defRPr sz="1100">
              <a:latin typeface="+mn-lt"/>
              <a:ea typeface="+mn-ea"/>
              <a:cs typeface="+mn-cs"/>
            </a:defRPr>
          </a:lvl2pPr>
          <a:lvl3pPr marL="914400" indent="0">
            <a:defRPr sz="1100">
              <a:latin typeface="+mn-lt"/>
              <a:ea typeface="+mn-ea"/>
              <a:cs typeface="+mn-cs"/>
            </a:defRPr>
          </a:lvl3pPr>
          <a:lvl4pPr marL="1371600" indent="0">
            <a:defRPr sz="1100">
              <a:latin typeface="+mn-lt"/>
              <a:ea typeface="+mn-ea"/>
              <a:cs typeface="+mn-cs"/>
            </a:defRPr>
          </a:lvl4pPr>
          <a:lvl5pPr marL="1828800" indent="0">
            <a:defRPr sz="1100">
              <a:latin typeface="+mn-lt"/>
              <a:ea typeface="+mn-ea"/>
              <a:cs typeface="+mn-cs"/>
            </a:defRPr>
          </a:lvl5pPr>
          <a:lvl6pPr marL="2286000" indent="0">
            <a:defRPr sz="1100">
              <a:latin typeface="+mn-lt"/>
              <a:ea typeface="+mn-ea"/>
              <a:cs typeface="+mn-cs"/>
            </a:defRPr>
          </a:lvl6pPr>
          <a:lvl7pPr marL="2743200" indent="0">
            <a:defRPr sz="1100">
              <a:latin typeface="+mn-lt"/>
              <a:ea typeface="+mn-ea"/>
              <a:cs typeface="+mn-cs"/>
            </a:defRPr>
          </a:lvl7pPr>
          <a:lvl8pPr marL="3200400" indent="0">
            <a:defRPr sz="1100">
              <a:latin typeface="+mn-lt"/>
              <a:ea typeface="+mn-ea"/>
              <a:cs typeface="+mn-cs"/>
            </a:defRPr>
          </a:lvl8pPr>
          <a:lvl9pPr marL="3657600" indent="0">
            <a:defRPr sz="1100"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en-US" sz="1400" u="none" strike="noStrike" dirty="0">
              <a:solidFill>
                <a:srgbClr val="000000"/>
              </a:solidFill>
              <a:latin typeface="Calibri"/>
              <a:cs typeface="Calibri"/>
            </a:rPr>
            <a:t>North American loadings</a:t>
          </a:r>
          <a:endParaRPr lang="en-US" sz="2400" dirty="0">
            <a:solidFill>
              <a:srgbClr val="000000"/>
            </a:solidFill>
          </a:endParaRPr>
        </a:p>
      </cdr:txBody>
    </cdr:sp>
  </cdr:relSizeAnchor>
</c:userShape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1EC71E7F-9D34-14F2-ADAD-35CFF2FD326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AD034126-0283-39E4-EDA7-C5344473797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3901FD9-D4D3-CC46-80F2-53E454D53D40}" type="datetimeFigureOut">
              <a:rPr lang="en-US" smtClean="0"/>
              <a:t>10/9/23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DB85F80-74A3-7A95-CF2C-CED4C6220EB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4E38E6-9A4D-D316-62DB-08C7453D237A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884262C-F8E7-EA4D-AB8A-4C7D547362E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7437237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D145D39-41BA-AC43-AB75-B339681E0489}" type="datetimeFigureOut">
              <a:rPr lang="en-US" smtClean="0"/>
              <a:t>10/9/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DC0D67-6536-C24B-985D-76F8E6CA22E9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28297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5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8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9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0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1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3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4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5.xml"/><Relationship Id="rId1" Type="http://schemas.openxmlformats.org/officeDocument/2006/relationships/notesMaster" Target="../notesMasters/notesMaster1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3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3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3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3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3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3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3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3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3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4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ough to peak: 48.9%</a:t>
            </a:r>
          </a:p>
          <a:p>
            <a:r>
              <a:rPr lang="en-US" dirty="0"/>
              <a:t>Peak to current: -2.6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DC0D67-6536-C24B-985D-76F8E6CA22E9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2456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19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594005048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2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270901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2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818322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9358">
              <a:defRPr/>
            </a:pPr>
            <a:r>
              <a:rPr lang="en-US" dirty="0"/>
              <a:t>Updated through 2023Q2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2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04386256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2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7631859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3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486809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3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89612522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3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65696657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511175" indent="0">
              <a:buNone/>
            </a:pPr>
            <a:r>
              <a:rPr lang="en-US" sz="1200" b="1" dirty="0"/>
              <a:t>Technically -34% / +28%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AB921A-957D-43D3-A99C-2854034F7813}" type="slidenum">
              <a:rPr lang="en-US" smtClean="0"/>
              <a:t>3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79666350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3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729011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Trough to peak: 48.9%</a:t>
            </a:r>
          </a:p>
          <a:p>
            <a:r>
              <a:rPr lang="en-US" dirty="0"/>
              <a:t>Peak to current: -2.6%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DC0D67-6536-C24B-985D-76F8E6CA22E9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3518480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3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285414608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949358">
              <a:defRPr/>
            </a:pPr>
            <a:r>
              <a:rPr lang="en-US" dirty="0"/>
              <a:t>Updated 8/31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3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85700977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78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1680A-A64D-4F9F-8EB5-79C3566AB5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81852758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78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1680A-A64D-4F9F-8EB5-79C3566AB5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0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888044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7835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baseline="0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0E1680A-A64D-4F9F-8EB5-79C3566AB51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1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52801022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4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9848365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9/1/202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4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15445E-4793-4F60-A01C-38402514DE4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4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839071117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4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9214148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9/1/202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4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15445E-4793-4F60-A01C-38402514DE4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4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22887547"/>
      </p:ext>
    </p:extLst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4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676727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7/4/23</a:t>
            </a:r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043113952"/>
      </p:ext>
    </p:extLst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9/1/202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04159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515445E-4793-4F60-A01C-38402514DE45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04159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70170944"/>
      </p:ext>
    </p:extLst>
  </p:cSld>
  <p:clrMapOvr>
    <a:masterClrMapping/>
  </p:clrMapOvr>
</p:notes>
</file>

<file path=ppt/notesSlides/notesSlide3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4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0095980"/>
      </p:ext>
    </p:extLst>
  </p:cSld>
  <p:clrMapOvr>
    <a:masterClrMapping/>
  </p:clrMapOvr>
</p:notes>
</file>

<file path=ppt/notesSlides/notesSlide3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9/1/23</a:t>
            </a:r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5AB921A-957D-43D3-A99C-2854034F7813}" type="slidenum">
              <a:rPr lang="en-US" smtClean="0"/>
              <a:t>4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55234508"/>
      </p:ext>
    </p:extLst>
  </p:cSld>
  <p:clrMapOvr>
    <a:masterClrMapping/>
  </p:clrMapOvr>
</p:notes>
</file>

<file path=ppt/notesSlides/notesSlide3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27572962"/>
      </p:ext>
    </p:extLst>
  </p:cSld>
  <p:clrMapOvr>
    <a:masterClrMapping/>
  </p:clrMapOvr>
</p:notes>
</file>

<file path=ppt/notesSlides/notesSlide3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20680526"/>
      </p:ext>
    </p:extLst>
  </p:cSld>
  <p:clrMapOvr>
    <a:masterClrMapping/>
  </p:clrMapOvr>
</p:notes>
</file>

<file path=ppt/notesSlides/notesSlide3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0119472"/>
      </p:ext>
    </p:extLst>
  </p:cSld>
  <p:clrMapOvr>
    <a:masterClrMapping/>
  </p:clrMapOvr>
</p:notes>
</file>

<file path=ppt/notesSlides/notesSlide3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984649"/>
      </p:ext>
    </p:extLst>
  </p:cSld>
  <p:clrMapOvr>
    <a:masterClrMapping/>
  </p:clrMapOvr>
</p:notes>
</file>

<file path=ppt/notesSlides/notesSlide3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68913237"/>
      </p:ext>
    </p:extLst>
  </p:cSld>
  <p:clrMapOvr>
    <a:masterClrMapping/>
  </p:clrMapOvr>
</p:notes>
</file>

<file path=ppt/notesSlides/notesSlide3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5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396916463"/>
      </p:ext>
    </p:extLst>
  </p:cSld>
  <p:clrMapOvr>
    <a:masterClrMapping/>
  </p:clrMapOvr>
</p:notes>
</file>

<file path=ppt/notesSlides/notesSlide3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212673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41115997"/>
      </p:ext>
    </p:extLst>
  </p:cSld>
  <p:clrMapOvr>
    <a:masterClrMapping/>
  </p:clrMapOvr>
</p:notes>
</file>

<file path=ppt/notesSlides/notesSlide4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6563208"/>
      </p:ext>
    </p:extLst>
  </p:cSld>
  <p:clrMapOvr>
    <a:masterClrMapping/>
  </p:clrMapOvr>
</p:notes>
</file>

<file path=ppt/notesSlides/notesSlide4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/>
              <a:t>Updated 9/01/2023</a:t>
            </a:r>
            <a:endParaRPr lang="en-US" dirty="0"/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5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0174776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9/01/2023</a:t>
            </a:r>
          </a:p>
          <a:p>
            <a:r>
              <a:rPr lang="en-US" dirty="0"/>
              <a:t>Linked to excel fil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8F2181-C857-A342-9BD6-1AE8DDAAA091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291963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DC0D67-6536-C24B-985D-76F8E6CA22E9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287569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1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14964657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/>
              <a:t>Updated 8/31/23</a:t>
            </a:r>
          </a:p>
          <a:p>
            <a:pPr marL="0" marR="0" lvl="0" indent="0" algn="l" defTabSz="94935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n-US" dirty="0"/>
          </a:p>
          <a:p>
            <a:pPr defTabSz="949358">
              <a:defRPr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474680">
              <a:defRPr/>
            </a:pPr>
            <a:fld id="{40E1680A-A64D-4F9F-8EB5-79C3566AB510}" type="slidenum">
              <a:rPr lang="en-US">
                <a:solidFill>
                  <a:prstClr val="black"/>
                </a:solidFill>
                <a:latin typeface="Calibri"/>
              </a:rPr>
              <a:pPr defTabSz="474680">
                <a:defRPr/>
              </a:pPr>
              <a:t>1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233869370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/>
              <a:t>Increased 31% in 6 month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/>
              <a:t>Increased 35% since June 2020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1200" b="1" dirty="0"/>
              <a:t>Increased 78% since January 2020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F5DC0D67-6536-C24B-985D-76F8E6CA22E9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7170795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91557-16CE-11AD-4706-384709F97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54312CE6-6131-7F6E-F9B5-608BEBD048E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28383" y="4703417"/>
            <a:ext cx="3657600" cy="9022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4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40E79EB7-0EEA-B771-DACB-A6DFCC5D635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821290" y="1620838"/>
            <a:ext cx="2871787" cy="2873375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4051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B2F3692-36A7-A3D9-56A4-16CD3E3FA3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B74C660-A0BE-24D1-61FA-C14B5CB531F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775982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345C099-8A2A-5C82-D118-517FF5738D2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6E10E67-D50A-AA3F-AA04-FE9BA36D457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C26A497F-6FF5-9582-69C7-E188E012120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723D8CC-53DA-2AEF-BFC0-C0FC3A3EE6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8803641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er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9F1FD7B0-BAD7-B144-A31B-2A1C1819367B}"/>
              </a:ext>
            </a:extLst>
          </p:cNvPr>
          <p:cNvSpPr/>
          <p:nvPr userDrawn="1"/>
        </p:nvSpPr>
        <p:spPr>
          <a:xfrm>
            <a:off x="9046720" y="6005688"/>
            <a:ext cx="3042545" cy="846310"/>
          </a:xfrm>
          <a:prstGeom prst="rect">
            <a:avLst/>
          </a:prstGeom>
          <a:solidFill>
            <a:srgbClr val="1720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8DF8BD49-E7F8-18FC-CE9C-1E6A421E7C2C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1185839" y="1745878"/>
            <a:ext cx="10250600" cy="3443760"/>
            <a:chOff x="-977812" y="1501180"/>
            <a:chExt cx="2519103" cy="846310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6FF03B1-34BC-7D98-7F69-8BE0B7D3EFFC}"/>
                </a:ext>
              </a:extLst>
            </p:cNvPr>
            <p:cNvSpPr/>
            <p:nvPr userDrawn="1"/>
          </p:nvSpPr>
          <p:spPr>
            <a:xfrm>
              <a:off x="-977812" y="1501180"/>
              <a:ext cx="2519103" cy="846310"/>
            </a:xfrm>
            <a:prstGeom prst="rect">
              <a:avLst/>
            </a:prstGeom>
            <a:solidFill>
              <a:srgbClr val="162C40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white letter on a black background&#10;&#10;Description automatically generated">
              <a:extLst>
                <a:ext uri="{FF2B5EF4-FFF2-40B4-BE49-F238E27FC236}">
                  <a16:creationId xmlns:a16="http://schemas.microsoft.com/office/drawing/2014/main" id="{F95263A1-8712-0B7E-77A9-5AB6BC28632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3"/>
            <a:stretch>
              <a:fillRect/>
            </a:stretch>
          </p:blipFill>
          <p:spPr>
            <a:xfrm>
              <a:off x="-977812" y="1574259"/>
              <a:ext cx="2519103" cy="70015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004367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91557-16CE-11AD-4706-384709F97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84E948A2-B556-FD18-4FD2-DCB50C304D0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435010" y="5488607"/>
            <a:ext cx="3657600" cy="9022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1188E314-C9DE-D280-0D1B-1879CFABF90D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372234" y="694474"/>
            <a:ext cx="1783153" cy="17841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C26ACEC8-1E4C-71E6-6AEF-F0580EDD131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8435010" y="2589699"/>
            <a:ext cx="3657600" cy="902253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C5A0E3E3-C6EE-0D81-04AB-4A5ACF5E395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372234" y="3590070"/>
            <a:ext cx="1783153" cy="1784140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2687536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91557-16CE-11AD-4706-384709F97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4E9BE7C3-0127-FD6E-0FE1-46C8C23FDE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770269" y="4273968"/>
            <a:ext cx="1243584" cy="1243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05532B43-A8DE-94C6-2363-08748B81ED64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770269" y="857980"/>
            <a:ext cx="1243584" cy="1243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1FB4DF01-234E-E3E6-476E-A60FCF0BFD5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37912" y="870476"/>
            <a:ext cx="1954697" cy="12185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800" i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Moderator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7ED50CB7-FFAB-C7F3-C2EA-2525283BD86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770269" y="2565974"/>
            <a:ext cx="1243584" cy="1243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8F9A369B-8C30-D678-6177-964C9D00328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37911" y="2582433"/>
            <a:ext cx="1954697" cy="12185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C04ACBF7-0CCA-462D-BE7E-F289A102748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37912" y="4282091"/>
            <a:ext cx="1954697" cy="12185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F2706499-9448-B151-EB81-4E620E4D4DAC}"/>
              </a:ext>
            </a:extLst>
          </p:cNvPr>
          <p:cNvSpPr txBox="1"/>
          <p:nvPr userDrawn="1"/>
        </p:nvSpPr>
        <p:spPr>
          <a:xfrm>
            <a:off x="8770270" y="2082465"/>
            <a:ext cx="12435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Moderator</a:t>
            </a:r>
          </a:p>
        </p:txBody>
      </p:sp>
    </p:spTree>
    <p:extLst>
      <p:ext uri="{BB962C8B-B14F-4D97-AF65-F5344CB8AC3E}">
        <p14:creationId xmlns:p14="http://schemas.microsoft.com/office/powerpoint/2010/main" val="179383252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fou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3991557-16CE-11AD-4706-384709F970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12">
            <a:extLst>
              <a:ext uri="{FF2B5EF4-FFF2-40B4-BE49-F238E27FC236}">
                <a16:creationId xmlns:a16="http://schemas.microsoft.com/office/drawing/2014/main" id="{DFC575B8-AC64-78DD-8057-A10D98137E0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689659" y="5362164"/>
            <a:ext cx="1243584" cy="1243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4" name="Picture Placeholder 12">
            <a:extLst>
              <a:ext uri="{FF2B5EF4-FFF2-40B4-BE49-F238E27FC236}">
                <a16:creationId xmlns:a16="http://schemas.microsoft.com/office/drawing/2014/main" id="{C5250CC2-4111-6EC8-7A9D-496D88BDC619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8689659" y="226316"/>
            <a:ext cx="1243584" cy="1243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 dirty="0"/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06A4F0EE-6359-5599-D62D-89F3A55460E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137912" y="226317"/>
            <a:ext cx="1954697" cy="1243584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  <a:br>
              <a:rPr lang="en-US" dirty="0"/>
            </a:br>
            <a:r>
              <a:rPr lang="en-US" dirty="0"/>
              <a:t>Moderator</a:t>
            </a:r>
          </a:p>
        </p:txBody>
      </p:sp>
      <p:sp>
        <p:nvSpPr>
          <p:cNvPr id="6" name="Picture Placeholder 12">
            <a:extLst>
              <a:ext uri="{FF2B5EF4-FFF2-40B4-BE49-F238E27FC236}">
                <a16:creationId xmlns:a16="http://schemas.microsoft.com/office/drawing/2014/main" id="{758BA0C1-25CF-25E8-17F0-D7AA06447A9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689659" y="1938265"/>
            <a:ext cx="1243584" cy="1243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7" name="Text Placeholder 10">
            <a:extLst>
              <a:ext uri="{FF2B5EF4-FFF2-40B4-BE49-F238E27FC236}">
                <a16:creationId xmlns:a16="http://schemas.microsoft.com/office/drawing/2014/main" id="{C7D24230-E7C6-7FD5-64EA-D5F0FFA4FBC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0137911" y="1999982"/>
            <a:ext cx="1954697" cy="12185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8" name="Text Placeholder 10">
            <a:extLst>
              <a:ext uri="{FF2B5EF4-FFF2-40B4-BE49-F238E27FC236}">
                <a16:creationId xmlns:a16="http://schemas.microsoft.com/office/drawing/2014/main" id="{856EBCF3-76E4-247F-71AC-D7A4EA8532A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0137912" y="5374660"/>
            <a:ext cx="1954697" cy="12185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9" name="Picture Placeholder 12">
            <a:extLst>
              <a:ext uri="{FF2B5EF4-FFF2-40B4-BE49-F238E27FC236}">
                <a16:creationId xmlns:a16="http://schemas.microsoft.com/office/drawing/2014/main" id="{3A8B775A-DC1B-F55C-656F-2FD718FBE82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689659" y="3650214"/>
            <a:ext cx="1243584" cy="1243584"/>
          </a:xfrm>
          <a:prstGeom prst="ellipse">
            <a:avLst/>
          </a:prstGeom>
          <a:solidFill>
            <a:schemeClr val="bg1">
              <a:lumMod val="85000"/>
            </a:schemeClr>
          </a:solidFill>
        </p:spPr>
        <p:txBody>
          <a:bodyPr anchor="t">
            <a:normAutofit/>
          </a:bodyPr>
          <a:lstStyle>
            <a:lvl1pPr marL="0" indent="0" algn="ctr">
              <a:buNone/>
              <a:defRPr sz="1200"/>
            </a:lvl1pPr>
          </a:lstStyle>
          <a:p>
            <a:endParaRPr lang="en-US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EC84198-B4F1-AE95-5514-4BDD6911C15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0140409" y="3662710"/>
            <a:ext cx="1954697" cy="1218591"/>
          </a:xfrm>
          <a:prstGeom prst="rect">
            <a:avLst/>
          </a:prstGeom>
        </p:spPr>
        <p:txBody>
          <a:bodyPr anchor="ctr">
            <a:noAutofit/>
          </a:bodyPr>
          <a:lstStyle>
            <a:lvl1pPr marL="0" indent="0" algn="l">
              <a:buNone/>
              <a:defRPr sz="16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  <a:lvl2pPr marL="457200" indent="0">
              <a:buNone/>
              <a:defRPr sz="4000">
                <a:latin typeface="Optima" panose="02000503060000020004"/>
              </a:defRPr>
            </a:lvl2pPr>
            <a:lvl3pPr marL="914400" indent="0">
              <a:buNone/>
              <a:defRPr sz="4000">
                <a:latin typeface="Optima" panose="02000503060000020004"/>
              </a:defRPr>
            </a:lvl3pPr>
            <a:lvl4pPr marL="1371600" indent="0">
              <a:buNone/>
              <a:defRPr sz="4000">
                <a:latin typeface="Optima" panose="02000503060000020004"/>
              </a:defRPr>
            </a:lvl4pPr>
            <a:lvl5pPr marL="1828800" indent="0">
              <a:buNone/>
              <a:defRPr sz="4000">
                <a:latin typeface="Optima" panose="02000503060000020004"/>
              </a:defRPr>
            </a:lvl5pPr>
          </a:lstStyle>
          <a:p>
            <a:pPr lvl="0"/>
            <a:r>
              <a:rPr lang="en-US" dirty="0"/>
              <a:t>Name</a:t>
            </a:r>
            <a:br>
              <a:rPr lang="en-US" dirty="0"/>
            </a:br>
            <a:r>
              <a:rPr lang="en-US" dirty="0"/>
              <a:t>Company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0BCAD555-7820-8EA6-5633-A34C524DBD89}"/>
              </a:ext>
            </a:extLst>
          </p:cNvPr>
          <p:cNvSpPr txBox="1"/>
          <p:nvPr userDrawn="1"/>
        </p:nvSpPr>
        <p:spPr>
          <a:xfrm>
            <a:off x="8689659" y="1458587"/>
            <a:ext cx="124358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200" dirty="0">
                <a:solidFill>
                  <a:schemeClr val="bg1"/>
                </a:solidFill>
              </a:rPr>
              <a:t>Moderator</a:t>
            </a:r>
          </a:p>
        </p:txBody>
      </p:sp>
    </p:spTree>
    <p:extLst>
      <p:ext uri="{BB962C8B-B14F-4D97-AF65-F5344CB8AC3E}">
        <p14:creationId xmlns:p14="http://schemas.microsoft.com/office/powerpoint/2010/main" val="15720846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286A2E5-789D-B61D-6072-56C231A0A30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CC66194-D16E-F9D3-2D9E-76A2ED7A3C0A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E5A1046-86D5-F037-8139-5C7E8296270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86954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3112A69-D4F5-78D7-8E28-412803B68C7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C88A9E20-E5AB-BDBD-212F-84EDD9A9443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03295D1-0BC1-9098-D359-81D3B87C824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5946866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B1C80D0-8E1D-E77F-84D9-59AE9A36D9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537AEBB-7E11-B9DD-E0FD-877333F5096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4"/>
            <a:ext cx="10515600" cy="1294502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7E023C8-531F-CEBB-9A26-22FCDE20A7A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0726499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63D8BD-0EFB-3321-3A6A-A14404AA61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0872683-B7CF-C1C1-D79D-5D31DFFCE1C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600201"/>
            <a:ext cx="5181600" cy="4293704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04EA11C-3B95-1F39-2C11-D8FCD1A563CF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600201"/>
            <a:ext cx="5181600" cy="42937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A8596AB-1812-5433-524F-AA5BD9291F1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357422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91E404F-208B-B3A1-18D2-B1AA39A7C80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594770"/>
            <a:ext cx="5157787" cy="61901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D8A0DFE2-687A-CABB-BFB7-26D2568331E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368863"/>
            <a:ext cx="5157787" cy="3515102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072B509-C239-751D-FE6D-B1CBB9EFE95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594770"/>
            <a:ext cx="5183188" cy="619017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0A5667FA-1E66-112B-37FF-C6FA68BFE41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368863"/>
            <a:ext cx="5183188" cy="351510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98C60ACB-D424-2174-379B-BE6F7A3E26D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0" name="Title 1">
            <a:extLst>
              <a:ext uri="{FF2B5EF4-FFF2-40B4-BE49-F238E27FC236}">
                <a16:creationId xmlns:a16="http://schemas.microsoft.com/office/drawing/2014/main" id="{504D7E29-D42B-622C-2EDE-F276F32FD5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1303169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5782401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jpg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9.xml"/><Relationship Id="rId10" Type="http://schemas.openxmlformats.org/officeDocument/2006/relationships/image" Target="../media/image3.jpg"/><Relationship Id="rId4" Type="http://schemas.openxmlformats.org/officeDocument/2006/relationships/slideLayout" Target="../slideLayouts/slideLayout8.xml"/><Relationship Id="rId9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6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0">
            <a:extLst>
              <a:ext uri="{FF2B5EF4-FFF2-40B4-BE49-F238E27FC236}">
                <a16:creationId xmlns:a16="http://schemas.microsoft.com/office/drawing/2014/main" id="{8470EDEC-A0BF-72A7-1921-9A07E5258B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22" y="2766218"/>
            <a:ext cx="7529214" cy="1937199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C79B3E8F-F223-A932-66A5-E46523C9B075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0" y="6005688"/>
            <a:ext cx="3044969" cy="852311"/>
            <a:chOff x="707672" y="4944533"/>
            <a:chExt cx="4432300" cy="1240636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C58F3D79-CAB5-5401-6E39-D3F1727EF361}"/>
                </a:ext>
              </a:extLst>
            </p:cNvPr>
            <p:cNvSpPr/>
            <p:nvPr userDrawn="1"/>
          </p:nvSpPr>
          <p:spPr>
            <a:xfrm>
              <a:off x="711200" y="4944533"/>
              <a:ext cx="4428772" cy="1231901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5" name="Picture 4" descr="A black background with colorful lines&#10;&#10;Description automatically generated">
              <a:extLst>
                <a:ext uri="{FF2B5EF4-FFF2-40B4-BE49-F238E27FC236}">
                  <a16:creationId xmlns:a16="http://schemas.microsoft.com/office/drawing/2014/main" id="{6BACC097-E9E8-E1D1-603E-95990B7D078E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/>
            <a:stretch>
              <a:fillRect/>
            </a:stretch>
          </p:blipFill>
          <p:spPr>
            <a:xfrm>
              <a:off x="707672" y="4953269"/>
              <a:ext cx="4432300" cy="12319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149598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6" r:id="rId2"/>
    <p:sldLayoutId id="2147483677" r:id="rId3"/>
    <p:sldLayoutId id="214748367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1"/>
          </a:solidFill>
          <a:latin typeface="Optima" panose="02000503060000020004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10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561B90FF-D820-3DA8-298E-7D888C777ADA}"/>
              </a:ext>
            </a:extLst>
          </p:cNvPr>
          <p:cNvSpPr/>
          <p:nvPr userDrawn="1"/>
        </p:nvSpPr>
        <p:spPr>
          <a:xfrm>
            <a:off x="9046720" y="6005688"/>
            <a:ext cx="3042545" cy="846310"/>
          </a:xfrm>
          <a:prstGeom prst="rect">
            <a:avLst/>
          </a:prstGeom>
          <a:solidFill>
            <a:srgbClr val="17203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51259EB4-9402-584C-0E03-A5E11E2E113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10515600" cy="130316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7425B0A-100A-56C8-20B8-6891710BF24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600200"/>
            <a:ext cx="10515600" cy="4255851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C2436C0-99F3-3B20-AADB-01A7075854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498060" y="6089516"/>
            <a:ext cx="7354110" cy="63196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400">
                <a:solidFill>
                  <a:schemeClr val="bg1"/>
                </a:solidFill>
              </a:defRPr>
            </a:lvl1pPr>
          </a:lstStyle>
          <a:p>
            <a:endParaRPr lang="en-US" dirty="0"/>
          </a:p>
        </p:txBody>
      </p:sp>
      <p:pic>
        <p:nvPicPr>
          <p:cNvPr id="9" name="Picture 8" descr="A white letter on a black background&#10;&#10;Description automatically generated">
            <a:extLst>
              <a:ext uri="{FF2B5EF4-FFF2-40B4-BE49-F238E27FC236}">
                <a16:creationId xmlns:a16="http://schemas.microsoft.com/office/drawing/2014/main" id="{D3388800-E007-9A01-EE4F-B3E342A245C4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500444" y="6055420"/>
            <a:ext cx="2519103" cy="700152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5E2A786D-3DC1-1DF6-E211-457DADE24F12}"/>
              </a:ext>
            </a:extLst>
          </p:cNvPr>
          <p:cNvSpPr txBox="1"/>
          <p:nvPr userDrawn="1"/>
        </p:nvSpPr>
        <p:spPr>
          <a:xfrm>
            <a:off x="-68139" y="6292516"/>
            <a:ext cx="457176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fld id="{DA9ABD39-3872-C24C-A300-DAB1021A4CD4}" type="slidenum">
              <a:rPr lang="en-US" smtClean="0">
                <a:solidFill>
                  <a:schemeClr val="bg1"/>
                </a:solidFill>
              </a:rPr>
              <a:pPr algn="ctr"/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471559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6" r:id="rId7"/>
    <p:sldLayoutId id="2147483661" r:id="rId8"/>
  </p:sldLayoutIdLst>
  <p:hf sldNum="0"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0.png"/><Relationship Id="rId5" Type="http://schemas.openxmlformats.org/officeDocument/2006/relationships/image" Target="../media/image9.png"/><Relationship Id="rId4" Type="http://schemas.openxmlformats.org/officeDocument/2006/relationships/image" Target="../media/image8.pn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9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chart" Target="../charts/chart6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7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8.xml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0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1.xml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2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1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4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5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6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7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8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9.xml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6.xml"/></Relationships>
</file>

<file path=ppt/slides/_rels/slide3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9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0.xml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1.xml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3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2.xml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3.xml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1.bin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4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2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3.x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2.bin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4.xml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5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6.xml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0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7.xml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28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9.xml"/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0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0.xml"/><Relationship Id="rId2" Type="http://schemas.openxmlformats.org/officeDocument/2006/relationships/notesSlide" Target="../notesSlides/notesSlide29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31.xml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2.xml"/><Relationship Id="rId2" Type="http://schemas.openxmlformats.org/officeDocument/2006/relationships/notesSlide" Target="../notesSlides/notesSlide30.xml"/><Relationship Id="rId1" Type="http://schemas.openxmlformats.org/officeDocument/2006/relationships/slideLayout" Target="../slideLayouts/slideLayout10.xml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3.xml"/><Relationship Id="rId2" Type="http://schemas.openxmlformats.org/officeDocument/2006/relationships/notesSlide" Target="../notesSlides/notesSlide31.xml"/><Relationship Id="rId1" Type="http://schemas.openxmlformats.org/officeDocument/2006/relationships/slideLayout" Target="../slideLayouts/slideLayout6.xml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4.xml"/><Relationship Id="rId2" Type="http://schemas.openxmlformats.org/officeDocument/2006/relationships/notesSlide" Target="../notesSlides/notesSlide32.xm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9.xml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5.xml"/><Relationship Id="rId2" Type="http://schemas.openxmlformats.org/officeDocument/2006/relationships/notesSlide" Target="../notesSlides/notesSlide33.xml"/><Relationship Id="rId1" Type="http://schemas.openxmlformats.org/officeDocument/2006/relationships/slideLayout" Target="../slideLayouts/slideLayout6.xml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6.xml"/><Relationship Id="rId2" Type="http://schemas.openxmlformats.org/officeDocument/2006/relationships/notesSlide" Target="../notesSlides/notesSlide34.xml"/><Relationship Id="rId1" Type="http://schemas.openxmlformats.org/officeDocument/2006/relationships/slideLayout" Target="../slideLayouts/slideLayout6.xml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7.xml"/><Relationship Id="rId2" Type="http://schemas.openxmlformats.org/officeDocument/2006/relationships/notesSlide" Target="../notesSlides/notesSlide35.xml"/><Relationship Id="rId1" Type="http://schemas.openxmlformats.org/officeDocument/2006/relationships/slideLayout" Target="../slideLayouts/slideLayout6.xml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8.xml"/><Relationship Id="rId2" Type="http://schemas.openxmlformats.org/officeDocument/2006/relationships/notesSlide" Target="../notesSlides/notesSlide36.xml"/><Relationship Id="rId1" Type="http://schemas.openxmlformats.org/officeDocument/2006/relationships/slideLayout" Target="../slideLayouts/slideLayout6.xml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9.xml"/><Relationship Id="rId2" Type="http://schemas.openxmlformats.org/officeDocument/2006/relationships/notesSlide" Target="../notesSlides/notesSlide37.xml"/><Relationship Id="rId1" Type="http://schemas.openxmlformats.org/officeDocument/2006/relationships/slideLayout" Target="../slideLayouts/slideLayout6.xml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0.xml"/><Relationship Id="rId2" Type="http://schemas.openxmlformats.org/officeDocument/2006/relationships/notesSlide" Target="../notesSlides/notesSlide38.xml"/><Relationship Id="rId1" Type="http://schemas.openxmlformats.org/officeDocument/2006/relationships/slideLayout" Target="../slideLayouts/slideLayout6.xml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1.xml"/><Relationship Id="rId2" Type="http://schemas.openxmlformats.org/officeDocument/2006/relationships/notesSlide" Target="../notesSlides/notesSlide39.xml"/><Relationship Id="rId1" Type="http://schemas.openxmlformats.org/officeDocument/2006/relationships/slideLayout" Target="../slideLayouts/slideLayout6.xml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2.xml"/><Relationship Id="rId2" Type="http://schemas.openxmlformats.org/officeDocument/2006/relationships/notesSlide" Target="../notesSlides/notesSlide40.xml"/><Relationship Id="rId1" Type="http://schemas.openxmlformats.org/officeDocument/2006/relationships/slideLayout" Target="../slideLayouts/slideLayout6.xml"/></Relationships>
</file>

<file path=ppt/slides/_rels/slide5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3.xml"/><Relationship Id="rId2" Type="http://schemas.openxmlformats.org/officeDocument/2006/relationships/notesSlide" Target="../notesSlides/notesSlide41.xml"/><Relationship Id="rId1" Type="http://schemas.openxmlformats.org/officeDocument/2006/relationships/slideLayout" Target="../slideLayouts/slideLayout6.xml"/></Relationships>
</file>

<file path=ppt/slides/_rels/slide5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6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4" Type="http://schemas.openxmlformats.org/officeDocument/2006/relationships/chart" Target="../charts/char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5B0D472-8F52-244C-3EDE-D9B12E3B9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22" y="2766218"/>
            <a:ext cx="7529214" cy="3528565"/>
          </a:xfrm>
        </p:spPr>
        <p:txBody>
          <a:bodyPr>
            <a:normAutofit/>
          </a:bodyPr>
          <a:lstStyle/>
          <a:p>
            <a:r>
              <a:rPr lang="en-US" dirty="0"/>
              <a:t>Economic Update</a:t>
            </a:r>
            <a:br>
              <a:rPr lang="en-US" dirty="0"/>
            </a:br>
            <a:br>
              <a:rPr lang="en-US" dirty="0"/>
            </a:br>
            <a:r>
              <a:rPr lang="en-US" sz="2800" dirty="0"/>
              <a:t>Keller Logistics Customer Summit 2023</a:t>
            </a:r>
            <a:br>
              <a:rPr lang="en-US" sz="2800" dirty="0"/>
            </a:br>
            <a:r>
              <a:rPr lang="en-US" sz="2800" dirty="0"/>
              <a:t>October 11, 2023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E1FFB37-2827-668B-FF55-5E41DBF3741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428383" y="4703417"/>
            <a:ext cx="3657600" cy="1710262"/>
          </a:xfrm>
        </p:spPr>
        <p:txBody>
          <a:bodyPr/>
          <a:lstStyle/>
          <a:p>
            <a:r>
              <a:rPr lang="en-US" dirty="0"/>
              <a:t>Eric Starks</a:t>
            </a:r>
          </a:p>
          <a:p>
            <a:r>
              <a:rPr lang="en-US" dirty="0"/>
              <a:t>Chairman</a:t>
            </a:r>
          </a:p>
          <a:p>
            <a:r>
              <a:rPr lang="en-US" dirty="0"/>
              <a:t>FTR</a:t>
            </a:r>
          </a:p>
          <a:p>
            <a:r>
              <a:rPr lang="en-US" dirty="0" err="1"/>
              <a:t>estarks@ftrintel.com</a:t>
            </a:r>
            <a:endParaRPr lang="en-US" dirty="0"/>
          </a:p>
        </p:txBody>
      </p:sp>
      <p:pic>
        <p:nvPicPr>
          <p:cNvPr id="6" name="Picture Placeholder 5">
            <a:extLst>
              <a:ext uri="{FF2B5EF4-FFF2-40B4-BE49-F238E27FC236}">
                <a16:creationId xmlns:a16="http://schemas.microsoft.com/office/drawing/2014/main" id="{7F115CA5-7523-BEC9-5EE5-FE43FE31CB60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/>
          <a:srcRect l="28" r="28"/>
          <a:stretch/>
        </p:blipFill>
        <p:spPr/>
      </p:pic>
      <p:pic>
        <p:nvPicPr>
          <p:cNvPr id="5" name="Picture 4" descr="A green and black logo&#10;&#10;Description automatically generated">
            <a:extLst>
              <a:ext uri="{FF2B5EF4-FFF2-40B4-BE49-F238E27FC236}">
                <a16:creationId xmlns:a16="http://schemas.microsoft.com/office/drawing/2014/main" id="{B695DB76-7025-8C2E-9288-3220A930CFA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79035" y="675871"/>
            <a:ext cx="1626704" cy="1626704"/>
          </a:xfrm>
          <a:prstGeom prst="rect">
            <a:avLst/>
          </a:prstGeom>
        </p:spPr>
      </p:pic>
      <p:pic>
        <p:nvPicPr>
          <p:cNvPr id="8" name="Picture 7" descr="A logo with a train and orange circle&#10;&#10;Description automatically generated">
            <a:extLst>
              <a:ext uri="{FF2B5EF4-FFF2-40B4-BE49-F238E27FC236}">
                <a16:creationId xmlns:a16="http://schemas.microsoft.com/office/drawing/2014/main" id="{876835B2-DE63-E1CF-0EB5-41AA969F304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52331" y="675871"/>
            <a:ext cx="1626704" cy="1626704"/>
          </a:xfrm>
          <a:prstGeom prst="rect">
            <a:avLst/>
          </a:prstGeom>
        </p:spPr>
      </p:pic>
      <p:pic>
        <p:nvPicPr>
          <p:cNvPr id="10" name="Picture 9" descr="A logo for a truck&#10;&#10;Description automatically generated">
            <a:extLst>
              <a:ext uri="{FF2B5EF4-FFF2-40B4-BE49-F238E27FC236}">
                <a16:creationId xmlns:a16="http://schemas.microsoft.com/office/drawing/2014/main" id="{4E58525F-3B0B-616E-1CA0-C88E5CABDEB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98923" y="675871"/>
            <a:ext cx="1626704" cy="1626704"/>
          </a:xfrm>
          <a:prstGeom prst="rect">
            <a:avLst/>
          </a:prstGeom>
        </p:spPr>
      </p:pic>
      <p:pic>
        <p:nvPicPr>
          <p:cNvPr id="12" name="Picture 11" descr="A logo of a truck&#10;&#10;Description automatically generated">
            <a:extLst>
              <a:ext uri="{FF2B5EF4-FFF2-40B4-BE49-F238E27FC236}">
                <a16:creationId xmlns:a16="http://schemas.microsoft.com/office/drawing/2014/main" id="{15EC4680-EE00-4BCC-E160-F4F98807455C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125627" y="675871"/>
            <a:ext cx="1626704" cy="1626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18350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3C921-45B5-3DB8-C64C-F0CD254CA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keep an eye 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4BA46-5FCF-0026-3900-2FD5CD8082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flation</a:t>
            </a:r>
          </a:p>
          <a:p>
            <a:r>
              <a:rPr lang="en-US" sz="3600" b="1" dirty="0"/>
              <a:t>Labor</a:t>
            </a:r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 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Consump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Automotive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ventories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Housing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dustrial</a:t>
            </a:r>
          </a:p>
        </p:txBody>
      </p:sp>
    </p:spTree>
    <p:extLst>
      <p:ext uri="{BB962C8B-B14F-4D97-AF65-F5344CB8AC3E}">
        <p14:creationId xmlns:p14="http://schemas.microsoft.com/office/powerpoint/2010/main" val="41877163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904D1-8AED-6F5C-255F-B31C09D0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064774"/>
            <a:ext cx="2994793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Survey say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7FA4D-D1F8-62B7-1EB4-AE59293405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89005"/>
            <a:ext cx="2994793" cy="2894959"/>
          </a:xfrm>
        </p:spPr>
        <p:txBody>
          <a:bodyPr>
            <a:normAutofit/>
          </a:bodyPr>
          <a:lstStyle/>
          <a:p>
            <a:pPr marL="514350" indent="-514350">
              <a:buAutoNum type="alphaUcPeriod"/>
            </a:pPr>
            <a:r>
              <a:rPr lang="en-US" sz="3200" b="1" dirty="0"/>
              <a:t>True</a:t>
            </a:r>
          </a:p>
          <a:p>
            <a:pPr marL="514350" indent="-514350">
              <a:buAutoNum type="alphaUcPeriod"/>
            </a:pPr>
            <a:r>
              <a:rPr lang="en-US" sz="3200" b="1" dirty="0"/>
              <a:t>Fal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A37B2-C1D2-F928-E974-03BC81B83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064774"/>
            <a:ext cx="5183188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Reality is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EA2F56-17DA-5D58-6BE1-9188C209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8020665" cy="1928249"/>
          </a:xfrm>
        </p:spPr>
        <p:txBody>
          <a:bodyPr>
            <a:normAutofit/>
          </a:bodyPr>
          <a:lstStyle/>
          <a:p>
            <a:r>
              <a:rPr lang="en-US" b="1" dirty="0"/>
              <a:t>Real average hourly earnings have increased by 2.6% since spring 2020: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E5FD126-33F1-80E3-BBAA-EE696F91E6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89005"/>
            <a:ext cx="5183188" cy="2894270"/>
          </a:xfrm>
        </p:spPr>
        <p:txBody>
          <a:bodyPr>
            <a:normAutofit/>
          </a:bodyPr>
          <a:lstStyle/>
          <a:p>
            <a:pPr marL="511175" indent="0">
              <a:buNone/>
            </a:pPr>
            <a:r>
              <a:rPr lang="en-US" sz="3200" b="1" dirty="0"/>
              <a:t>False</a:t>
            </a:r>
          </a:p>
          <a:p>
            <a:pPr marL="511175" indent="0">
              <a:buNone/>
            </a:pPr>
            <a:endParaRPr lang="en-US" sz="3200" b="1" dirty="0"/>
          </a:p>
          <a:p>
            <a:pPr marL="511175" indent="0">
              <a:buNone/>
            </a:pPr>
            <a:r>
              <a:rPr lang="en-US" sz="3200" b="1" u="sng" dirty="0"/>
              <a:t>Decreased</a:t>
            </a:r>
            <a:r>
              <a:rPr lang="en-US" sz="3200" b="1" dirty="0"/>
              <a:t> 2.6%</a:t>
            </a:r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4F001A8F-EC3F-AE5D-A417-132A27AEDF9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7275" y="-711"/>
            <a:ext cx="3514725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6152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" grpId="0" uiExpand="1" build="p"/>
      <p:bldP spid="6" grpId="0" build="p"/>
      <p:bldP spid="11" grpId="0" uiExpand="1" build="p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F142C7-5B92-6E8D-224C-149565C393F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al average hourly earnings</a:t>
            </a:r>
          </a:p>
        </p:txBody>
      </p:sp>
      <p:graphicFrame>
        <p:nvGraphicFramePr>
          <p:cNvPr id="5" name="Content Placeholder 4">
            <a:extLst>
              <a:ext uri="{FF2B5EF4-FFF2-40B4-BE49-F238E27FC236}">
                <a16:creationId xmlns:a16="http://schemas.microsoft.com/office/drawing/2014/main" id="{F41D844E-8C7E-A4D4-E402-5702D81C7C2D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155782917"/>
              </p:ext>
            </p:extLst>
          </p:nvPr>
        </p:nvGraphicFramePr>
        <p:xfrm>
          <a:off x="838200" y="1600200"/>
          <a:ext cx="10980906" cy="4256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Box 8">
            <a:extLst>
              <a:ext uri="{FF2B5EF4-FFF2-40B4-BE49-F238E27FC236}">
                <a16:creationId xmlns:a16="http://schemas.microsoft.com/office/drawing/2014/main" id="{6E237024-93FE-3194-DC53-471D20EF7580}"/>
              </a:ext>
            </a:extLst>
          </p:cNvPr>
          <p:cNvSpPr txBox="1"/>
          <p:nvPr/>
        </p:nvSpPr>
        <p:spPr>
          <a:xfrm>
            <a:off x="1514168" y="6047232"/>
            <a:ext cx="8555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Labor Statistic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65919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8FB225C-1833-4A83-5C9F-75DEF7261BB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Job openings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7917024-3C13-55C3-CEA4-6335C7B45417}"/>
              </a:ext>
            </a:extLst>
          </p:cNvPr>
          <p:cNvSpPr txBox="1"/>
          <p:nvPr/>
        </p:nvSpPr>
        <p:spPr>
          <a:xfrm>
            <a:off x="1514168" y="6047232"/>
            <a:ext cx="8555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Labor Statistic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14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05012825"/>
              </p:ext>
            </p:extLst>
          </p:nvPr>
        </p:nvGraphicFramePr>
        <p:xfrm>
          <a:off x="841248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</p:spTree>
    <p:extLst>
      <p:ext uri="{BB962C8B-B14F-4D97-AF65-F5344CB8AC3E}">
        <p14:creationId xmlns:p14="http://schemas.microsoft.com/office/powerpoint/2010/main" val="13115596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Total payroll job chang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C0D73-60A1-4EEF-B74B-994CAC761E0F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Labor Statistic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1BE2CCB5-63B8-410D-A33E-FB45A179B8D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72215147"/>
              </p:ext>
            </p:extLst>
          </p:nvPr>
        </p:nvGraphicFramePr>
        <p:xfrm>
          <a:off x="841248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950448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Warehouse &amp; storage employment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C0D73-60A1-4EEF-B74B-994CAC761E0F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Labor Statistic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000000-0008-0000-85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9849667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9345540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3C921-45B5-3DB8-C64C-F0CD254CA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keep an eye 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4BA46-5FCF-0026-3900-2FD5CD8082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fla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Labor </a:t>
            </a:r>
          </a:p>
          <a:p>
            <a:r>
              <a:rPr lang="en-US" sz="3600" b="1" dirty="0"/>
              <a:t>Consump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Automotive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ventories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Housing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dustrial</a:t>
            </a:r>
          </a:p>
        </p:txBody>
      </p:sp>
    </p:spTree>
    <p:extLst>
      <p:ext uri="{BB962C8B-B14F-4D97-AF65-F5344CB8AC3E}">
        <p14:creationId xmlns:p14="http://schemas.microsoft.com/office/powerpoint/2010/main" val="35930746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904D1-8AED-6F5C-255F-B31C09D0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064774"/>
            <a:ext cx="2994793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Survey say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7FA4D-D1F8-62B7-1EB4-AE59293405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89005"/>
            <a:ext cx="2994793" cy="2894959"/>
          </a:xfrm>
        </p:spPr>
        <p:txBody>
          <a:bodyPr>
            <a:normAutofit/>
          </a:bodyPr>
          <a:lstStyle/>
          <a:p>
            <a:pPr marL="514350" indent="-514350">
              <a:buAutoNum type="alphaUcPeriod"/>
            </a:pPr>
            <a:r>
              <a:rPr lang="en-US" sz="3200" b="1" dirty="0"/>
              <a:t>True</a:t>
            </a:r>
          </a:p>
          <a:p>
            <a:pPr marL="514350" indent="-514350">
              <a:buAutoNum type="alphaUcPeriod"/>
            </a:pPr>
            <a:r>
              <a:rPr lang="en-US" sz="3200" b="1" dirty="0"/>
              <a:t>Fal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A37B2-C1D2-F928-E974-03BC81B83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064774"/>
            <a:ext cx="5183188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Reality is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EA2F56-17DA-5D58-6BE1-9188C209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8020665" cy="1928249"/>
          </a:xfrm>
        </p:spPr>
        <p:txBody>
          <a:bodyPr>
            <a:normAutofit/>
          </a:bodyPr>
          <a:lstStyle/>
          <a:p>
            <a:r>
              <a:rPr lang="en-US" b="1" dirty="0"/>
              <a:t>Non-store retail sales are up 35% since January 2020: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E5FD126-33F1-80E3-BBAA-EE696F91E6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89005"/>
            <a:ext cx="5501456" cy="2894270"/>
          </a:xfrm>
        </p:spPr>
        <p:txBody>
          <a:bodyPr>
            <a:normAutofit/>
          </a:bodyPr>
          <a:lstStyle/>
          <a:p>
            <a:pPr marL="511175" indent="0">
              <a:buNone/>
            </a:pPr>
            <a:r>
              <a:rPr lang="en-US" sz="3200" b="1" dirty="0"/>
              <a:t>False</a:t>
            </a:r>
          </a:p>
          <a:p>
            <a:pPr marL="511175" indent="0">
              <a:buNone/>
            </a:pPr>
            <a:endParaRPr lang="en-US" sz="3200" b="1" dirty="0"/>
          </a:p>
          <a:p>
            <a:pPr marL="511175" indent="0">
              <a:buNone/>
            </a:pPr>
            <a:r>
              <a:rPr lang="en-US" sz="3200" b="1" dirty="0"/>
              <a:t>Up 78% since January 2020</a:t>
            </a:r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4F001A8F-EC3F-AE5D-A417-132A27AEDF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677275" y="-711"/>
            <a:ext cx="3514725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44155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1000"/>
                            </p:stCondLst>
                            <p:childTnLst>
                              <p:par>
                                <p:cTn id="2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" grpId="0" uiExpand="1" build="p"/>
      <p:bldP spid="6" grpId="0" build="p"/>
      <p:bldP spid="11" grpId="0" uiExpand="1" build="p"/>
    </p:bld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E2F22-ECB5-6D46-CF8D-24E7E38656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tail stores vs. </a:t>
            </a:r>
            <a:r>
              <a:rPr lang="en-US" dirty="0" err="1"/>
              <a:t>nonstore</a:t>
            </a:r>
            <a:r>
              <a:rPr lang="en-US" dirty="0"/>
              <a:t> retail sales</a:t>
            </a:r>
          </a:p>
        </p:txBody>
      </p:sp>
      <p:graphicFrame>
        <p:nvGraphicFramePr>
          <p:cNvPr id="6" name="Content Placeholder 5">
            <a:extLst>
              <a:ext uri="{FF2B5EF4-FFF2-40B4-BE49-F238E27FC236}">
                <a16:creationId xmlns:a16="http://schemas.microsoft.com/office/drawing/2014/main" id="{00000000-0008-0000-3500-000004000000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838200" y="1600200"/>
          <a:ext cx="10515600" cy="42560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>
            <a:extLst>
              <a:ext uri="{FF2B5EF4-FFF2-40B4-BE49-F238E27FC236}">
                <a16:creationId xmlns:a16="http://schemas.microsoft.com/office/drawing/2014/main" id="{75D3E580-3FAB-4BBE-54FB-59D37ABD4CFA}"/>
              </a:ext>
            </a:extLst>
          </p:cNvPr>
          <p:cNvSpPr txBox="1"/>
          <p:nvPr/>
        </p:nvSpPr>
        <p:spPr>
          <a:xfrm>
            <a:off x="1514168" y="6044184"/>
            <a:ext cx="93137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Source: Census Bureau</a:t>
            </a:r>
          </a:p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Analysis by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83EE458-4A57-B226-37B1-BACDF6C4175F}"/>
              </a:ext>
            </a:extLst>
          </p:cNvPr>
          <p:cNvSpPr txBox="1"/>
          <p:nvPr/>
        </p:nvSpPr>
        <p:spPr>
          <a:xfrm>
            <a:off x="11003605" y="1898311"/>
            <a:ext cx="972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Non-stor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BB8834F-F6DA-AA16-F909-4D6F4984D136}"/>
              </a:ext>
            </a:extLst>
          </p:cNvPr>
          <p:cNvSpPr txBox="1"/>
          <p:nvPr/>
        </p:nvSpPr>
        <p:spPr>
          <a:xfrm>
            <a:off x="11003604" y="2803128"/>
            <a:ext cx="1107331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Food &amp; </a:t>
            </a:r>
            <a:r>
              <a:rPr lang="en-US" sz="1400" b="1" dirty="0" err="1">
                <a:solidFill>
                  <a:srgbClr val="404040"/>
                </a:solidFill>
              </a:rPr>
              <a:t>bev</a:t>
            </a:r>
            <a:endParaRPr lang="en-US" sz="1400" b="1" dirty="0">
              <a:solidFill>
                <a:srgbClr val="404040"/>
              </a:solidFill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01B1C62-1683-A444-B3AB-AFAEFA87DA97}"/>
              </a:ext>
            </a:extLst>
          </p:cNvPr>
          <p:cNvSpPr txBox="1"/>
          <p:nvPr/>
        </p:nvSpPr>
        <p:spPr>
          <a:xfrm>
            <a:off x="11003605" y="3074959"/>
            <a:ext cx="972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General</a:t>
            </a:r>
          </a:p>
        </p:txBody>
      </p:sp>
    </p:spTree>
    <p:extLst>
      <p:ext uri="{BB962C8B-B14F-4D97-AF65-F5344CB8AC3E}">
        <p14:creationId xmlns:p14="http://schemas.microsoft.com/office/powerpoint/2010/main" val="40428529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929004"/>
          </a:xfrm>
        </p:spPr>
        <p:txBody>
          <a:bodyPr/>
          <a:lstStyle/>
          <a:p>
            <a:r>
              <a:rPr lang="en-US" dirty="0"/>
              <a:t>Real consumer spend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3312E3-11A9-5543-9363-AB3170108050}"/>
              </a:ext>
            </a:extLst>
          </p:cNvPr>
          <p:cNvSpPr txBox="1"/>
          <p:nvPr/>
        </p:nvSpPr>
        <p:spPr>
          <a:xfrm>
            <a:off x="1504335" y="6044184"/>
            <a:ext cx="9323619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Source: Bureau of Economic Analysis</a:t>
            </a:r>
          </a:p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Forecast by Witte Econometrics,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4F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109350715"/>
              </p:ext>
            </p:extLst>
          </p:nvPr>
        </p:nvGraphicFramePr>
        <p:xfrm>
          <a:off x="838200" y="1453896"/>
          <a:ext cx="709643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E5C932A6-4551-8940-90D3-7F6B93ADD579}"/>
              </a:ext>
            </a:extLst>
          </p:cNvPr>
          <p:cNvGraphicFramePr>
            <a:graphicFrameLocks noGrp="1"/>
          </p:cNvGraphicFramePr>
          <p:nvPr/>
        </p:nvGraphicFramePr>
        <p:xfrm>
          <a:off x="7924800" y="1814956"/>
          <a:ext cx="3647766" cy="35141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5922">
                  <a:extLst>
                    <a:ext uri="{9D8B030D-6E8A-4147-A177-3AD203B41FA5}">
                      <a16:colId xmlns:a16="http://schemas.microsoft.com/office/drawing/2014/main" val="1479490075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1455990862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3243454362"/>
                    </a:ext>
                  </a:extLst>
                </a:gridCol>
              </a:tblGrid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24547647"/>
                  </a:ext>
                </a:extLst>
              </a:tr>
              <a:tr h="702825">
                <a:tc grid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 Consumption-Services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8%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1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75738505"/>
                  </a:ext>
                </a:extLst>
              </a:tr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8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1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95367492"/>
                  </a:ext>
                </a:extLst>
              </a:tr>
              <a:tr h="702825">
                <a:tc grid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 Consumption-Goods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1%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9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562013140"/>
                  </a:ext>
                </a:extLst>
              </a:tr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1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9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814960596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6E5E93D5-5CC9-BEBC-361A-B41086D7D99C}"/>
              </a:ext>
            </a:extLst>
          </p:cNvPr>
          <p:cNvSpPr txBox="1"/>
          <p:nvPr/>
        </p:nvSpPr>
        <p:spPr>
          <a:xfrm>
            <a:off x="6699115" y="1927639"/>
            <a:ext cx="972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rgbClr val="404040"/>
                </a:solidFill>
              </a:rPr>
              <a:t>Servic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DE0F1DC-9EAE-C508-DC67-754C1DEBF9BF}"/>
              </a:ext>
            </a:extLst>
          </p:cNvPr>
          <p:cNvSpPr txBox="1"/>
          <p:nvPr/>
        </p:nvSpPr>
        <p:spPr>
          <a:xfrm>
            <a:off x="6639312" y="3664586"/>
            <a:ext cx="972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US" sz="1400" b="1" dirty="0">
                <a:solidFill>
                  <a:srgbClr val="404040"/>
                </a:solidFill>
              </a:rPr>
              <a:t>Goods</a:t>
            </a:r>
          </a:p>
        </p:txBody>
      </p:sp>
    </p:spTree>
    <p:extLst>
      <p:ext uri="{BB962C8B-B14F-4D97-AF65-F5344CB8AC3E}">
        <p14:creationId xmlns:p14="http://schemas.microsoft.com/office/powerpoint/2010/main" val="16901977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8C53C2-5B04-4A5B-8F5B-9CD5E16B96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resentation Overview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553DD62-B6CA-49B2-AEDC-FE003AA8055C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sz="3600" dirty="0"/>
              <a:t>Economy</a:t>
            </a:r>
          </a:p>
          <a:p>
            <a:r>
              <a:rPr lang="en-US" sz="3600" dirty="0"/>
              <a:t>Truck Freight Outlook</a:t>
            </a:r>
          </a:p>
          <a:p>
            <a:r>
              <a:rPr lang="en-US" sz="3600" dirty="0"/>
              <a:t>Truck Capacity</a:t>
            </a:r>
          </a:p>
          <a:p>
            <a:r>
              <a:rPr lang="en-US" sz="3600" dirty="0"/>
              <a:t>Rates</a:t>
            </a:r>
          </a:p>
        </p:txBody>
      </p:sp>
    </p:spTree>
    <p:extLst>
      <p:ext uri="{BB962C8B-B14F-4D97-AF65-F5344CB8AC3E}">
        <p14:creationId xmlns:p14="http://schemas.microsoft.com/office/powerpoint/2010/main" val="826287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3C921-45B5-3DB8-C64C-F0CD254CA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keep an eye 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4BA46-5FCF-0026-3900-2FD5CD8082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fla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Labor 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Consumption</a:t>
            </a:r>
          </a:p>
          <a:p>
            <a:r>
              <a:rPr lang="en-US" sz="3600" b="1" dirty="0"/>
              <a:t>Automotive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ventories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Housing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dustrial</a:t>
            </a:r>
          </a:p>
        </p:txBody>
      </p:sp>
    </p:spTree>
    <p:extLst>
      <p:ext uri="{BB962C8B-B14F-4D97-AF65-F5344CB8AC3E}">
        <p14:creationId xmlns:p14="http://schemas.microsoft.com/office/powerpoint/2010/main" val="23341722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904D1-8AED-6F5C-255F-B31C09D0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064774"/>
            <a:ext cx="2994793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Survey say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7FA4D-D1F8-62B7-1EB4-AE59293405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89005"/>
            <a:ext cx="2994793" cy="2894959"/>
          </a:xfrm>
        </p:spPr>
        <p:txBody>
          <a:bodyPr>
            <a:normAutofit/>
          </a:bodyPr>
          <a:lstStyle/>
          <a:p>
            <a:pPr marL="514350" indent="-514350">
              <a:buAutoNum type="alphaUcPeriod"/>
            </a:pPr>
            <a:r>
              <a:rPr lang="en-US" sz="3200" b="1" dirty="0"/>
              <a:t>True</a:t>
            </a:r>
          </a:p>
          <a:p>
            <a:pPr marL="514350" indent="-514350">
              <a:buAutoNum type="alphaUcPeriod"/>
            </a:pPr>
            <a:r>
              <a:rPr lang="en-US" sz="3200" b="1" dirty="0"/>
              <a:t>Fal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A37B2-C1D2-F928-E974-03BC81B83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064774"/>
            <a:ext cx="5183188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Reality is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EA2F56-17DA-5D58-6BE1-9188C209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8020665" cy="1928249"/>
          </a:xfrm>
        </p:spPr>
        <p:txBody>
          <a:bodyPr>
            <a:normAutofit/>
          </a:bodyPr>
          <a:lstStyle/>
          <a:p>
            <a:r>
              <a:rPr lang="en-US" b="1" dirty="0"/>
              <a:t>Auto sales are down more than 14% over the last 12 months: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E5FD126-33F1-80E3-BBAA-EE696F91E6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89005"/>
            <a:ext cx="5183188" cy="2894270"/>
          </a:xfrm>
        </p:spPr>
        <p:txBody>
          <a:bodyPr>
            <a:normAutofit/>
          </a:bodyPr>
          <a:lstStyle/>
          <a:p>
            <a:pPr marL="511175" indent="0">
              <a:buNone/>
            </a:pPr>
            <a:r>
              <a:rPr lang="en-US" sz="3200" b="1" dirty="0"/>
              <a:t>False</a:t>
            </a:r>
          </a:p>
          <a:p>
            <a:pPr marL="511175" indent="0">
              <a:buNone/>
            </a:pPr>
            <a:endParaRPr lang="en-US" sz="3200" b="1" dirty="0"/>
          </a:p>
          <a:p>
            <a:pPr marL="511175" indent="0">
              <a:buNone/>
            </a:pPr>
            <a:r>
              <a:rPr lang="en-US" sz="3200" b="1" u="sng" dirty="0"/>
              <a:t>Up</a:t>
            </a:r>
            <a:r>
              <a:rPr lang="en-US" sz="3200" b="1" dirty="0"/>
              <a:t> nearly 14%</a:t>
            </a:r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4F001A8F-EC3F-AE5D-A417-132A27AEDF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677275" y="-711"/>
            <a:ext cx="3514725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618628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6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" grpId="0" uiExpand="1" build="p"/>
      <p:bldP spid="6" grpId="0" build="p"/>
      <p:bldP spid="11" grpId="0" uiExpand="1" build="p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Economic Analysi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Support for automotive production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71CD9B83-1A7E-477B-897D-4476CBE3F26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23202752"/>
              </p:ext>
            </p:extLst>
          </p:nvPr>
        </p:nvGraphicFramePr>
        <p:xfrm>
          <a:off x="8412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CB8A8DC0-458B-4F25-A7BC-587713EB6F4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84289855"/>
              </p:ext>
            </p:extLst>
          </p:nvPr>
        </p:nvGraphicFramePr>
        <p:xfrm>
          <a:off x="63276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2806055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ederal Reserv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Motor vehicle and parts production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1F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21403831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150876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3C921-45B5-3DB8-C64C-F0CD254CA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keep an eye 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4BA46-5FCF-0026-3900-2FD5CD8082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fla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Labor 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Consump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Automotive</a:t>
            </a:r>
          </a:p>
          <a:p>
            <a:r>
              <a:rPr lang="en-US" sz="3600" b="1" dirty="0"/>
              <a:t>Inventories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Housing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dustrial</a:t>
            </a:r>
          </a:p>
        </p:txBody>
      </p:sp>
    </p:spTree>
    <p:extLst>
      <p:ext uri="{BB962C8B-B14F-4D97-AF65-F5344CB8AC3E}">
        <p14:creationId xmlns:p14="http://schemas.microsoft.com/office/powerpoint/2010/main" val="22002942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904D1-8AED-6F5C-255F-B31C09D0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064774"/>
            <a:ext cx="2994793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Survey say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7FA4D-D1F8-62B7-1EB4-AE59293405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89005"/>
            <a:ext cx="2994793" cy="2894959"/>
          </a:xfrm>
        </p:spPr>
        <p:txBody>
          <a:bodyPr>
            <a:normAutofit/>
          </a:bodyPr>
          <a:lstStyle/>
          <a:p>
            <a:pPr marL="514350" indent="-514350">
              <a:buAutoNum type="alphaUcPeriod"/>
            </a:pPr>
            <a:r>
              <a:rPr lang="en-US" sz="3200" b="1" dirty="0"/>
              <a:t>True</a:t>
            </a:r>
          </a:p>
          <a:p>
            <a:pPr marL="514350" indent="-514350">
              <a:buAutoNum type="alphaUcPeriod"/>
            </a:pPr>
            <a:r>
              <a:rPr lang="en-US" sz="3200" b="1" dirty="0"/>
              <a:t>Fal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A37B2-C1D2-F928-E974-03BC81B83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064774"/>
            <a:ext cx="5183188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Reality is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EA2F56-17DA-5D58-6BE1-9188C209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8020665" cy="1928249"/>
          </a:xfrm>
        </p:spPr>
        <p:txBody>
          <a:bodyPr>
            <a:normAutofit/>
          </a:bodyPr>
          <a:lstStyle/>
          <a:p>
            <a:r>
              <a:rPr lang="en-US" b="1" dirty="0"/>
              <a:t>Real inventories of $735.9B in Q2 is a record high: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E5FD126-33F1-80E3-BBAA-EE696F91E6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89005"/>
            <a:ext cx="5183188" cy="2894270"/>
          </a:xfrm>
        </p:spPr>
        <p:txBody>
          <a:bodyPr>
            <a:normAutofit/>
          </a:bodyPr>
          <a:lstStyle/>
          <a:p>
            <a:pPr marL="511175" indent="0">
              <a:buNone/>
            </a:pPr>
            <a:r>
              <a:rPr lang="en-US" sz="3200" b="1" dirty="0"/>
              <a:t>True</a:t>
            </a:r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4F001A8F-EC3F-AE5D-A417-132A27AEDF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677275" y="-711"/>
            <a:ext cx="3514725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55032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" grpId="0" uiExpand="1" build="p"/>
      <p:bldP spid="6" grpId="0" build="p"/>
      <p:bldP spid="11" grpId="0" uiExpand="1" build="p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Real retail inventori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C0D73-60A1-4EEF-B74B-994CAC761E0F}"/>
              </a:ext>
            </a:extLst>
          </p:cNvPr>
          <p:cNvSpPr txBox="1"/>
          <p:nvPr/>
        </p:nvSpPr>
        <p:spPr>
          <a:xfrm>
            <a:off x="1514168" y="6047232"/>
            <a:ext cx="8555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Economic Analysi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6065D50C-E448-3E45-ACF2-88813D251338}"/>
              </a:ext>
            </a:extLst>
          </p:cNvPr>
          <p:cNvSpPr txBox="1"/>
          <p:nvPr/>
        </p:nvSpPr>
        <p:spPr>
          <a:xfrm>
            <a:off x="11011426" y="2052154"/>
            <a:ext cx="10995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Tota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C9FD6F6-7E72-69ED-3FFA-F1AF46A26687}"/>
              </a:ext>
            </a:extLst>
          </p:cNvPr>
          <p:cNvSpPr txBox="1"/>
          <p:nvPr/>
        </p:nvSpPr>
        <p:spPr>
          <a:xfrm>
            <a:off x="11011426" y="3885136"/>
            <a:ext cx="10995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Ex. Auto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46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49104491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1714072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Census Bureau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Inventories-to-sales ratio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83750B0-630C-475E-BA0B-C20F15638D2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28759608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428747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3C921-45B5-3DB8-C64C-F0CD254CA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keep an eye 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4BA46-5FCF-0026-3900-2FD5CD8082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fla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Labor 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Consump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Automotive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ventories</a:t>
            </a:r>
          </a:p>
          <a:p>
            <a:r>
              <a:rPr lang="en-US" sz="3600" b="1" dirty="0"/>
              <a:t>Housing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dustrial</a:t>
            </a:r>
          </a:p>
        </p:txBody>
      </p:sp>
    </p:spTree>
    <p:extLst>
      <p:ext uri="{BB962C8B-B14F-4D97-AF65-F5344CB8AC3E}">
        <p14:creationId xmlns:p14="http://schemas.microsoft.com/office/powerpoint/2010/main" val="2331093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904D1-8AED-6F5C-255F-B31C09D0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064774"/>
            <a:ext cx="2994793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Survey say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7FA4D-D1F8-62B7-1EB4-AE59293405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89005"/>
            <a:ext cx="2994793" cy="2894959"/>
          </a:xfrm>
        </p:spPr>
        <p:txBody>
          <a:bodyPr>
            <a:normAutofit/>
          </a:bodyPr>
          <a:lstStyle/>
          <a:p>
            <a:pPr marL="514350" indent="-514350">
              <a:buAutoNum type="alphaUcPeriod"/>
            </a:pPr>
            <a:r>
              <a:rPr lang="en-US" sz="3200" b="1" dirty="0"/>
              <a:t>True</a:t>
            </a:r>
          </a:p>
          <a:p>
            <a:pPr marL="514350" indent="-514350">
              <a:buAutoNum type="alphaUcPeriod"/>
            </a:pPr>
            <a:r>
              <a:rPr lang="en-US" sz="3200" b="1" dirty="0"/>
              <a:t>Fal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A37B2-C1D2-F928-E974-03BC81B83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064774"/>
            <a:ext cx="5183188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Reality is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EA2F56-17DA-5D58-6BE1-9188C209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8020665" cy="1928249"/>
          </a:xfrm>
        </p:spPr>
        <p:txBody>
          <a:bodyPr>
            <a:normAutofit/>
          </a:bodyPr>
          <a:lstStyle/>
          <a:p>
            <a:r>
              <a:rPr lang="en-US" b="1" dirty="0"/>
              <a:t>Existing home sales are down 40% since peaking in October 2020: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E5FD126-33F1-80E3-BBAA-EE696F91E6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89005"/>
            <a:ext cx="5183188" cy="2894270"/>
          </a:xfrm>
        </p:spPr>
        <p:txBody>
          <a:bodyPr>
            <a:normAutofit/>
          </a:bodyPr>
          <a:lstStyle/>
          <a:p>
            <a:pPr marL="511175" indent="0">
              <a:buNone/>
            </a:pPr>
            <a:r>
              <a:rPr lang="en-US" sz="3200" b="1" dirty="0"/>
              <a:t>True</a:t>
            </a:r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4F001A8F-EC3F-AE5D-A417-132A27AEDF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677275" y="-711"/>
            <a:ext cx="3514725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6157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" grpId="0" uiExpand="1" build="p"/>
      <p:bldP spid="6" grpId="0" build="p"/>
      <p:bldP spid="11" grpId="0" uiExpand="1" build="p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2210A457-678A-21C9-9BA2-0D2516F198C4}"/>
              </a:ext>
            </a:extLst>
          </p:cNvPr>
          <p:cNvSpPr/>
          <p:nvPr/>
        </p:nvSpPr>
        <p:spPr>
          <a:xfrm>
            <a:off x="9436863" y="0"/>
            <a:ext cx="1652462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5B0D472-8F52-244C-3EDE-D9B12E3B9C7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4822" y="2125015"/>
            <a:ext cx="7529214" cy="2893312"/>
          </a:xfrm>
        </p:spPr>
        <p:txBody>
          <a:bodyPr>
            <a:normAutofit/>
          </a:bodyPr>
          <a:lstStyle/>
          <a:p>
            <a:r>
              <a:rPr lang="en-US" dirty="0"/>
              <a:t>Download an updated copy of this presentation at: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www.ftrintel.com</a:t>
            </a:r>
            <a:r>
              <a:rPr lang="en-US" dirty="0"/>
              <a:t>/</a:t>
            </a:r>
            <a:r>
              <a:rPr lang="en-US" dirty="0" err="1"/>
              <a:t>keller</a:t>
            </a:r>
            <a:endParaRPr lang="en-US" dirty="0"/>
          </a:p>
        </p:txBody>
      </p:sp>
      <p:pic>
        <p:nvPicPr>
          <p:cNvPr id="5" name="Picture 4" descr="A green and black logo&#10;&#10;Description automatically generated">
            <a:extLst>
              <a:ext uri="{FF2B5EF4-FFF2-40B4-BE49-F238E27FC236}">
                <a16:creationId xmlns:a16="http://schemas.microsoft.com/office/drawing/2014/main" id="{B695DB76-7025-8C2E-9288-3220A930CFA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436863" y="5018326"/>
            <a:ext cx="1626704" cy="1626704"/>
          </a:xfrm>
          <a:prstGeom prst="rect">
            <a:avLst/>
          </a:prstGeom>
        </p:spPr>
      </p:pic>
      <p:pic>
        <p:nvPicPr>
          <p:cNvPr id="8" name="Picture 7" descr="A logo with a train and orange circle&#10;&#10;Description automatically generated">
            <a:extLst>
              <a:ext uri="{FF2B5EF4-FFF2-40B4-BE49-F238E27FC236}">
                <a16:creationId xmlns:a16="http://schemas.microsoft.com/office/drawing/2014/main" id="{876835B2-DE63-E1CF-0EB5-41AA969F304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436863" y="3429000"/>
            <a:ext cx="1626704" cy="1626704"/>
          </a:xfrm>
          <a:prstGeom prst="rect">
            <a:avLst/>
          </a:prstGeom>
        </p:spPr>
      </p:pic>
      <p:pic>
        <p:nvPicPr>
          <p:cNvPr id="10" name="Picture 9" descr="A logo for a truck&#10;&#10;Description automatically generated">
            <a:extLst>
              <a:ext uri="{FF2B5EF4-FFF2-40B4-BE49-F238E27FC236}">
                <a16:creationId xmlns:a16="http://schemas.microsoft.com/office/drawing/2014/main" id="{4E58525F-3B0B-616E-1CA0-C88E5CABDE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436863" y="254124"/>
            <a:ext cx="1626704" cy="1626704"/>
          </a:xfrm>
          <a:prstGeom prst="rect">
            <a:avLst/>
          </a:prstGeom>
        </p:spPr>
      </p:pic>
      <p:pic>
        <p:nvPicPr>
          <p:cNvPr id="12" name="Picture 11" descr="A logo of a truck&#10;&#10;Description automatically generated">
            <a:extLst>
              <a:ext uri="{FF2B5EF4-FFF2-40B4-BE49-F238E27FC236}">
                <a16:creationId xmlns:a16="http://schemas.microsoft.com/office/drawing/2014/main" id="{15EC4680-EE00-4BCC-E160-F4F98807455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436863" y="1880828"/>
            <a:ext cx="1626704" cy="16267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94086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Sales of existing home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C0D73-60A1-4EEF-B74B-994CAC761E0F}"/>
              </a:ext>
            </a:extLst>
          </p:cNvPr>
          <p:cNvSpPr txBox="1"/>
          <p:nvPr/>
        </p:nvSpPr>
        <p:spPr>
          <a:xfrm>
            <a:off x="1524000" y="6047232"/>
            <a:ext cx="85455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National Association of Realtor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75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0336691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47739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Inventory of homes on the marke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C0D73-60A1-4EEF-B74B-994CAC761E0F}"/>
              </a:ext>
            </a:extLst>
          </p:cNvPr>
          <p:cNvSpPr txBox="1"/>
          <p:nvPr/>
        </p:nvSpPr>
        <p:spPr>
          <a:xfrm>
            <a:off x="1514168" y="6047232"/>
            <a:ext cx="8555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National Association of Realtor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76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0790453"/>
              </p:ext>
            </p:extLst>
          </p:nvPr>
        </p:nvGraphicFramePr>
        <p:xfrm>
          <a:off x="838200" y="1453896"/>
          <a:ext cx="10515600" cy="456819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7780919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Housing start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C0D73-60A1-4EEF-B74B-994CAC761E0F}"/>
              </a:ext>
            </a:extLst>
          </p:cNvPr>
          <p:cNvSpPr txBox="1"/>
          <p:nvPr/>
        </p:nvSpPr>
        <p:spPr>
          <a:xfrm>
            <a:off x="1514168" y="6047232"/>
            <a:ext cx="8555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Census Bureau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lang="en-US" dirty="0">
                <a:solidFill>
                  <a:srgbClr val="FFFFFF"/>
                </a:solidFill>
              </a:rPr>
              <a:t>Forecast by Witte Econometrics,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000000-0008-0000-6A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199795"/>
              </p:ext>
            </p:extLst>
          </p:nvPr>
        </p:nvGraphicFramePr>
        <p:xfrm>
          <a:off x="838200" y="1453896"/>
          <a:ext cx="709643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555DEB46-9E05-9944-59A0-5845247392B7}"/>
              </a:ext>
            </a:extLst>
          </p:cNvPr>
          <p:cNvGraphicFramePr>
            <a:graphicFrameLocks noGrp="1"/>
          </p:cNvGraphicFramePr>
          <p:nvPr/>
        </p:nvGraphicFramePr>
        <p:xfrm>
          <a:off x="7924800" y="1814956"/>
          <a:ext cx="3647766" cy="351412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5922">
                  <a:extLst>
                    <a:ext uri="{9D8B030D-6E8A-4147-A177-3AD203B41FA5}">
                      <a16:colId xmlns:a16="http://schemas.microsoft.com/office/drawing/2014/main" val="1479490075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1455990862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3243454362"/>
                    </a:ext>
                  </a:extLst>
                </a:gridCol>
              </a:tblGrid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24547647"/>
                  </a:ext>
                </a:extLst>
              </a:tr>
              <a:tr h="702825">
                <a:tc grid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 Housing Starts (millions)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8%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1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75738505"/>
                  </a:ext>
                </a:extLst>
              </a:tr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400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358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394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95367492"/>
                  </a:ext>
                </a:extLst>
              </a:tr>
              <a:tr h="702825">
                <a:tc grid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 % Change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1%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9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562013140"/>
                  </a:ext>
                </a:extLst>
              </a:tr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9.7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3.0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7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81496059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362347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3C921-45B5-3DB8-C64C-F0CD254CA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keep an eye 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4BA46-5FCF-0026-3900-2FD5CD8082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fla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Labor 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Consump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Automotive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ventories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Housing</a:t>
            </a:r>
          </a:p>
          <a:p>
            <a:r>
              <a:rPr lang="en-US" sz="3600" b="1" dirty="0"/>
              <a:t>Industrial</a:t>
            </a:r>
          </a:p>
        </p:txBody>
      </p:sp>
    </p:spTree>
    <p:extLst>
      <p:ext uri="{BB962C8B-B14F-4D97-AF65-F5344CB8AC3E}">
        <p14:creationId xmlns:p14="http://schemas.microsoft.com/office/powerpoint/2010/main" val="14992608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904D1-8AED-6F5C-255F-B31C09D0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064774"/>
            <a:ext cx="2994793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Survey say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7FA4D-D1F8-62B7-1EB4-AE59293405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89005"/>
            <a:ext cx="2994793" cy="2894959"/>
          </a:xfrm>
        </p:spPr>
        <p:txBody>
          <a:bodyPr>
            <a:normAutofit/>
          </a:bodyPr>
          <a:lstStyle/>
          <a:p>
            <a:pPr marL="514350" indent="-514350">
              <a:buAutoNum type="alphaUcPeriod"/>
            </a:pPr>
            <a:r>
              <a:rPr lang="en-US" sz="3200" b="1" dirty="0"/>
              <a:t>True</a:t>
            </a:r>
          </a:p>
          <a:p>
            <a:pPr marL="514350" indent="-514350">
              <a:buAutoNum type="alphaUcPeriod"/>
            </a:pPr>
            <a:r>
              <a:rPr lang="en-US" sz="3200" b="1" dirty="0"/>
              <a:t>Fal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A37B2-C1D2-F928-E974-03BC81B83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064774"/>
            <a:ext cx="5183188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Reality is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EA2F56-17DA-5D58-6BE1-9188C209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36525"/>
            <a:ext cx="8020665" cy="1928249"/>
          </a:xfrm>
        </p:spPr>
        <p:txBody>
          <a:bodyPr>
            <a:normAutofit fontScale="90000"/>
          </a:bodyPr>
          <a:lstStyle/>
          <a:p>
            <a:r>
              <a:rPr lang="en-US" b="1" dirty="0"/>
              <a:t>Since October 2018 Chinese goods imports are down 30% and Can/Mex goods imports are up 30%: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E5FD126-33F1-80E3-BBAA-EE696F91E6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89005"/>
            <a:ext cx="5183188" cy="2894270"/>
          </a:xfrm>
        </p:spPr>
        <p:txBody>
          <a:bodyPr>
            <a:normAutofit/>
          </a:bodyPr>
          <a:lstStyle/>
          <a:p>
            <a:pPr marL="511175" indent="0">
              <a:buNone/>
            </a:pPr>
            <a:r>
              <a:rPr lang="en-US" sz="3200" b="1" dirty="0"/>
              <a:t>True</a:t>
            </a:r>
          </a:p>
          <a:p>
            <a:pPr marL="511175" indent="0">
              <a:buNone/>
            </a:pPr>
            <a:endParaRPr lang="en-US" sz="3200" b="1" dirty="0"/>
          </a:p>
          <a:p>
            <a:pPr marL="511175" indent="0">
              <a:buNone/>
            </a:pPr>
            <a:r>
              <a:rPr lang="en-US" sz="3200" b="1" dirty="0"/>
              <a:t>Technically -34% / +28%</a:t>
            </a:r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4F001A8F-EC3F-AE5D-A417-132A27AEDF9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677275" y="-711"/>
            <a:ext cx="3514725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6951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500"/>
                                        <p:tgtEl>
                                          <p:spTgt spid="11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" grpId="0" uiExpand="1" build="p"/>
      <p:bldP spid="6" grpId="0" build="p"/>
      <p:bldP spid="11" grpId="0" uiExpand="1" build="p"/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5F618DBA-AF2E-40C1-B813-79990FD1168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93099149"/>
              </p:ext>
            </p:extLst>
          </p:nvPr>
        </p:nvGraphicFramePr>
        <p:xfrm>
          <a:off x="840105" y="1453896"/>
          <a:ext cx="10511790" cy="4575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193E09EB-175B-8169-6CCD-0B129DAB5C25}"/>
              </a:ext>
            </a:extLst>
          </p:cNvPr>
          <p:cNvSpPr txBox="1"/>
          <p:nvPr/>
        </p:nvSpPr>
        <p:spPr>
          <a:xfrm>
            <a:off x="1514168" y="6047232"/>
            <a:ext cx="855540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Census Bureau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</a:t>
            </a:r>
            <a:r>
              <a:rPr lang="en-US" dirty="0">
                <a:solidFill>
                  <a:prstClr val="white"/>
                </a:solidFill>
                <a:cs typeface="Arial" panose="020B0604020202020204" pitchFamily="34" charset="0"/>
              </a:rPr>
              <a:t>b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4DF5C01-D8AC-25D1-5C76-055248921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929004"/>
          </a:xfrm>
        </p:spPr>
        <p:txBody>
          <a:bodyPr/>
          <a:lstStyle/>
          <a:p>
            <a:r>
              <a:rPr lang="en-US" dirty="0"/>
              <a:t>Goods imports from key trading partners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82E58FEA-EF2B-B0F2-D4DA-F9C8C90AFFCB}"/>
              </a:ext>
            </a:extLst>
          </p:cNvPr>
          <p:cNvSpPr txBox="1"/>
          <p:nvPr/>
        </p:nvSpPr>
        <p:spPr>
          <a:xfrm>
            <a:off x="11011426" y="2295345"/>
            <a:ext cx="10995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Mex + Can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4214AD38-ACD3-E8E7-63A5-36BC597173B2}"/>
              </a:ext>
            </a:extLst>
          </p:cNvPr>
          <p:cNvSpPr txBox="1"/>
          <p:nvPr/>
        </p:nvSpPr>
        <p:spPr>
          <a:xfrm>
            <a:off x="11011426" y="4008636"/>
            <a:ext cx="1099509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China</a:t>
            </a:r>
          </a:p>
        </p:txBody>
      </p:sp>
    </p:spTree>
    <p:extLst>
      <p:ext uri="{BB962C8B-B14F-4D97-AF65-F5344CB8AC3E}">
        <p14:creationId xmlns:p14="http://schemas.microsoft.com/office/powerpoint/2010/main" val="628999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88F1D9DE-5D1D-4AA0-895B-8397BC1961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24039650"/>
              </p:ext>
            </p:extLst>
          </p:nvPr>
        </p:nvGraphicFramePr>
        <p:xfrm>
          <a:off x="838200" y="1453896"/>
          <a:ext cx="10515600" cy="457390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929004"/>
          </a:xfrm>
        </p:spPr>
        <p:txBody>
          <a:bodyPr/>
          <a:lstStyle/>
          <a:p>
            <a:r>
              <a:rPr lang="en-US" dirty="0"/>
              <a:t>New orders for core capital good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3312E3-11A9-5543-9363-AB3170108050}"/>
              </a:ext>
            </a:extLst>
          </p:cNvPr>
          <p:cNvSpPr txBox="1"/>
          <p:nvPr/>
        </p:nvSpPr>
        <p:spPr>
          <a:xfrm>
            <a:off x="1524000" y="6044184"/>
            <a:ext cx="9303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Source: Census Bureau, Bureau of Labor Statistics</a:t>
            </a:r>
          </a:p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Analysis by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053B715-7250-FBB3-A11A-24A8ED39C5EB}"/>
              </a:ext>
            </a:extLst>
          </p:cNvPr>
          <p:cNvSpPr txBox="1"/>
          <p:nvPr/>
        </p:nvSpPr>
        <p:spPr>
          <a:xfrm>
            <a:off x="10720692" y="2065253"/>
            <a:ext cx="10116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Nominal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D7E435E1-04B5-D9B8-AD46-956F39AB419B}"/>
              </a:ext>
            </a:extLst>
          </p:cNvPr>
          <p:cNvSpPr txBox="1"/>
          <p:nvPr/>
        </p:nvSpPr>
        <p:spPr>
          <a:xfrm>
            <a:off x="10847962" y="3699907"/>
            <a:ext cx="101167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Real</a:t>
            </a:r>
          </a:p>
        </p:txBody>
      </p:sp>
    </p:spTree>
    <p:extLst>
      <p:ext uri="{BB962C8B-B14F-4D97-AF65-F5344CB8AC3E}">
        <p14:creationId xmlns:p14="http://schemas.microsoft.com/office/powerpoint/2010/main" val="41011226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929004"/>
          </a:xfrm>
        </p:spPr>
        <p:txBody>
          <a:bodyPr/>
          <a:lstStyle/>
          <a:p>
            <a:r>
              <a:rPr lang="en-US"/>
              <a:t>Manufacturing output</a:t>
            </a:r>
            <a:endParaRPr lang="en-US" dirty="0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3312E3-11A9-5543-9363-AB3170108050}"/>
              </a:ext>
            </a:extLst>
          </p:cNvPr>
          <p:cNvSpPr txBox="1"/>
          <p:nvPr/>
        </p:nvSpPr>
        <p:spPr>
          <a:xfrm>
            <a:off x="1514168" y="6044184"/>
            <a:ext cx="931378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Source: Federal Reserve</a:t>
            </a:r>
          </a:p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Forecast by Witte Econometrics,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000000-0008-0000-1E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86273206"/>
              </p:ext>
            </p:extLst>
          </p:nvPr>
        </p:nvGraphicFramePr>
        <p:xfrm>
          <a:off x="838200" y="1453896"/>
          <a:ext cx="7086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555C6E6-D0EE-E3AF-9613-67418F978E15}"/>
              </a:ext>
            </a:extLst>
          </p:cNvPr>
          <p:cNvGraphicFramePr>
            <a:graphicFrameLocks noGrp="1"/>
          </p:cNvGraphicFramePr>
          <p:nvPr/>
        </p:nvGraphicFramePr>
        <p:xfrm>
          <a:off x="7924800" y="1814956"/>
          <a:ext cx="3647766" cy="2108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5922">
                  <a:extLst>
                    <a:ext uri="{9D8B030D-6E8A-4147-A177-3AD203B41FA5}">
                      <a16:colId xmlns:a16="http://schemas.microsoft.com/office/drawing/2014/main" val="1479490075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1455990862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3243454362"/>
                    </a:ext>
                  </a:extLst>
                </a:gridCol>
              </a:tblGrid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24547647"/>
                  </a:ext>
                </a:extLst>
              </a:tr>
              <a:tr h="702825">
                <a:tc grid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 Industrial Production-Manufacturing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8%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1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75738505"/>
                  </a:ext>
                </a:extLst>
              </a:tr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-0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0.3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1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95367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0292368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929004"/>
          </a:xfrm>
        </p:spPr>
        <p:txBody>
          <a:bodyPr/>
          <a:lstStyle/>
          <a:p>
            <a:r>
              <a:rPr lang="en-US" dirty="0"/>
              <a:t>Real Gross Domestic Product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3312E3-11A9-5543-9363-AB3170108050}"/>
              </a:ext>
            </a:extLst>
          </p:cNvPr>
          <p:cNvSpPr txBox="1"/>
          <p:nvPr/>
        </p:nvSpPr>
        <p:spPr>
          <a:xfrm>
            <a:off x="1533832" y="6044184"/>
            <a:ext cx="929412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Source: Bureau of Economic Analysis</a:t>
            </a:r>
          </a:p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Forecast by Witte Econometrics,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00000000-0008-0000-03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7537105"/>
              </p:ext>
            </p:extLst>
          </p:nvPr>
        </p:nvGraphicFramePr>
        <p:xfrm>
          <a:off x="838200" y="1453896"/>
          <a:ext cx="7096432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24637A6A-EE91-C7F8-6305-98A536F75586}"/>
              </a:ext>
            </a:extLst>
          </p:cNvPr>
          <p:cNvGraphicFramePr>
            <a:graphicFrameLocks noGrp="1"/>
          </p:cNvGraphicFramePr>
          <p:nvPr/>
        </p:nvGraphicFramePr>
        <p:xfrm>
          <a:off x="7924800" y="1814956"/>
          <a:ext cx="3647766" cy="210847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15922">
                  <a:extLst>
                    <a:ext uri="{9D8B030D-6E8A-4147-A177-3AD203B41FA5}">
                      <a16:colId xmlns:a16="http://schemas.microsoft.com/office/drawing/2014/main" val="1479490075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1455990862"/>
                    </a:ext>
                  </a:extLst>
                </a:gridCol>
                <a:gridCol w="1215922">
                  <a:extLst>
                    <a:ext uri="{9D8B030D-6E8A-4147-A177-3AD203B41FA5}">
                      <a16:colId xmlns:a16="http://schemas.microsoft.com/office/drawing/2014/main" val="3243454362"/>
                    </a:ext>
                  </a:extLst>
                </a:gridCol>
              </a:tblGrid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3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4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025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24547647"/>
                  </a:ext>
                </a:extLst>
              </a:tr>
              <a:tr h="702825">
                <a:tc gridSpan="3">
                  <a:txBody>
                    <a:bodyPr/>
                    <a:lstStyle/>
                    <a:p>
                      <a:pPr algn="l"/>
                      <a:r>
                        <a:rPr lang="en-US" dirty="0"/>
                        <a:t> Real GDP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8%</a:t>
                      </a: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1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75738505"/>
                  </a:ext>
                </a:extLst>
              </a:tr>
              <a:tr h="702825"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1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1.5%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US" dirty="0"/>
                        <a:t>2.0%</a:t>
                      </a: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9536749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184979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36693D-D660-FAAB-B1ED-F145D186C8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36693D-D660-FAAB-B1ED-F145D186C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00C756E6-70CF-4613-BECF-1ECD5E26C0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5400" b="1" dirty="0"/>
              <a:t>U.S. Freight Outlook </a:t>
            </a:r>
            <a:br>
              <a:rPr lang="en-US" sz="5400" b="1" dirty="0"/>
            </a:br>
            <a:r>
              <a:rPr lang="en-US" sz="5400" b="1" dirty="0"/>
              <a:t>by Equipment Type</a:t>
            </a:r>
          </a:p>
        </p:txBody>
      </p:sp>
    </p:spTree>
    <p:extLst>
      <p:ext uri="{BB962C8B-B14F-4D97-AF65-F5344CB8AC3E}">
        <p14:creationId xmlns:p14="http://schemas.microsoft.com/office/powerpoint/2010/main" val="2452457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AE3C921-45B5-3DB8-C64C-F0CD254CABC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Issues to keep an eye on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634BA46-5FCF-0026-3900-2FD5CD808210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US" sz="3600" b="1" dirty="0"/>
              <a:t>Infla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Labor 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Consumption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Automotive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ventories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Housing</a:t>
            </a:r>
          </a:p>
          <a:p>
            <a:r>
              <a:rPr lang="en-US" sz="3600" b="1" dirty="0">
                <a:solidFill>
                  <a:schemeClr val="bg1">
                    <a:lumMod val="75000"/>
                  </a:schemeClr>
                </a:solidFill>
              </a:rPr>
              <a:t>Industrial</a:t>
            </a:r>
          </a:p>
        </p:txBody>
      </p:sp>
    </p:spTree>
    <p:extLst>
      <p:ext uri="{BB962C8B-B14F-4D97-AF65-F5344CB8AC3E}">
        <p14:creationId xmlns:p14="http://schemas.microsoft.com/office/powerpoint/2010/main" val="2516044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36693D-D660-FAAB-B1ED-F145D186C8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36693D-D660-FAAB-B1ED-F145D186C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F0BD56C-3F3D-4F1D-7267-56BD3F6EB3AB}"/>
              </a:ext>
            </a:extLst>
          </p:cNvPr>
          <p:cNvSpPr txBox="1"/>
          <p:nvPr/>
        </p:nvSpPr>
        <p:spPr>
          <a:xfrm>
            <a:off x="1094281" y="374754"/>
            <a:ext cx="10493115" cy="5016758"/>
          </a:xfrm>
          <a:prstGeom prst="rect">
            <a:avLst/>
          </a:prstGeom>
          <a:solidFill>
            <a:schemeClr val="bg1">
              <a:alpha val="59175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b="1" dirty="0"/>
              <a:t>Which equipment has more freight (loads originated) in a year?</a:t>
            </a:r>
          </a:p>
          <a:p>
            <a:endParaRPr lang="en-US" sz="4000" dirty="0"/>
          </a:p>
          <a:p>
            <a:pPr marL="742950" indent="-742950">
              <a:buFont typeface="+mj-lt"/>
              <a:buAutoNum type="alphaUcPeriod"/>
            </a:pPr>
            <a:r>
              <a:rPr lang="en-US" sz="4000" dirty="0"/>
              <a:t>Reefer Van</a:t>
            </a:r>
            <a:br>
              <a:rPr lang="en-US" sz="4000" dirty="0"/>
            </a:br>
            <a:endParaRPr lang="en-US" sz="4000" dirty="0"/>
          </a:p>
          <a:p>
            <a:pPr marL="742950" indent="-742950">
              <a:buFont typeface="+mj-lt"/>
              <a:buAutoNum type="alphaUcPeriod"/>
            </a:pPr>
            <a:endParaRPr lang="en-US" sz="4000" dirty="0"/>
          </a:p>
          <a:p>
            <a:pPr marL="742950" indent="-742950">
              <a:buFont typeface="+mj-lt"/>
              <a:buAutoNum type="alphaUcPeriod"/>
            </a:pPr>
            <a:r>
              <a:rPr lang="en-US" sz="4000" dirty="0"/>
              <a:t>Tanks</a:t>
            </a:r>
            <a:br>
              <a:rPr lang="en-US" sz="4000" dirty="0"/>
            </a:br>
            <a:endParaRPr lang="en-US" sz="4000" dirty="0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2DECF5-D96E-8DE9-0D7B-E14D16B2BF60}"/>
              </a:ext>
            </a:extLst>
          </p:cNvPr>
          <p:cNvGrpSpPr/>
          <p:nvPr/>
        </p:nvGrpSpPr>
        <p:grpSpPr>
          <a:xfrm>
            <a:off x="9383843" y="2308486"/>
            <a:ext cx="2533337" cy="2386093"/>
            <a:chOff x="9383843" y="2308486"/>
            <a:chExt cx="2533337" cy="238609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CED863E-CD08-EF92-25F4-2AC2CDFD575B}"/>
                </a:ext>
              </a:extLst>
            </p:cNvPr>
            <p:cNvSpPr txBox="1"/>
            <p:nvPr/>
          </p:nvSpPr>
          <p:spPr>
            <a:xfrm>
              <a:off x="9383843" y="2308486"/>
              <a:ext cx="2533337" cy="584775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1">
                      <a:lumMod val="95000"/>
                    </a:schemeClr>
                  </a:solidFill>
                </a:rPr>
                <a:t>53M Loa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B442577-C290-B967-3B73-B8AF59596B1A}"/>
                </a:ext>
              </a:extLst>
            </p:cNvPr>
            <p:cNvSpPr txBox="1"/>
            <p:nvPr/>
          </p:nvSpPr>
          <p:spPr>
            <a:xfrm>
              <a:off x="9383843" y="4109804"/>
              <a:ext cx="2533337" cy="584775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1">
                      <a:lumMod val="95000"/>
                    </a:schemeClr>
                  </a:solidFill>
                </a:rPr>
                <a:t>123M Loads</a:t>
              </a:r>
            </a:p>
          </p:txBody>
        </p:sp>
      </p:grp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48D47611-5813-A21D-E9DD-4068B30BC5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173787"/>
            <a:ext cx="7171955" cy="365125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ight•ca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™,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uck and Trailer Outlook Servi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3339520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36693D-D660-FAAB-B1ED-F145D186C8C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51" imgH="351" progId="TCLayout.ActiveDocument.1">
                  <p:embed/>
                </p:oleObj>
              </mc:Choice>
              <mc:Fallback>
                <p:oleObj name="think-cell Slide" r:id="rId4" imgW="351" imgH="35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36693D-D660-FAAB-B1ED-F145D186C8C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Box 5">
            <a:extLst>
              <a:ext uri="{FF2B5EF4-FFF2-40B4-BE49-F238E27FC236}">
                <a16:creationId xmlns:a16="http://schemas.microsoft.com/office/drawing/2014/main" id="{DF0BD56C-3F3D-4F1D-7267-56BD3F6EB3AB}"/>
              </a:ext>
            </a:extLst>
          </p:cNvPr>
          <p:cNvSpPr txBox="1"/>
          <p:nvPr/>
        </p:nvSpPr>
        <p:spPr>
          <a:xfrm>
            <a:off x="1094281" y="374754"/>
            <a:ext cx="10493115" cy="5016758"/>
          </a:xfrm>
          <a:prstGeom prst="rect">
            <a:avLst/>
          </a:prstGeom>
          <a:solidFill>
            <a:schemeClr val="bg1">
              <a:alpha val="59175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sz="4000" b="1" dirty="0"/>
              <a:t>Which equipment has more freight (loads originated) in a year?</a:t>
            </a:r>
          </a:p>
          <a:p>
            <a:endParaRPr lang="en-US" sz="4000" dirty="0"/>
          </a:p>
          <a:p>
            <a:pPr marL="742950" indent="-742950">
              <a:buFont typeface="+mj-lt"/>
              <a:buAutoNum type="alphaUcPeriod"/>
            </a:pPr>
            <a:r>
              <a:rPr lang="en-US" sz="4000" dirty="0"/>
              <a:t>Dry Van</a:t>
            </a:r>
            <a:br>
              <a:rPr lang="en-US" sz="4000" dirty="0"/>
            </a:br>
            <a:endParaRPr lang="en-US" sz="4000" dirty="0"/>
          </a:p>
          <a:p>
            <a:pPr marL="742950" indent="-742950">
              <a:buFont typeface="+mj-lt"/>
              <a:buAutoNum type="alphaUcPeriod"/>
            </a:pPr>
            <a:endParaRPr lang="en-US" sz="4000" dirty="0"/>
          </a:p>
          <a:p>
            <a:pPr marL="742950" indent="-742950">
              <a:buFont typeface="+mj-lt"/>
              <a:buAutoNum type="alphaUcPeriod"/>
            </a:pPr>
            <a:r>
              <a:rPr lang="en-US" sz="4000" dirty="0"/>
              <a:t>Bulk &amp; Dump Trailers </a:t>
            </a:r>
            <a:br>
              <a:rPr lang="en-US" sz="4000" dirty="0"/>
            </a:br>
            <a:r>
              <a:rPr lang="en-US" sz="4000" dirty="0"/>
              <a:t>+ Straight Trucks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522DECF5-D96E-8DE9-0D7B-E14D16B2BF60}"/>
              </a:ext>
            </a:extLst>
          </p:cNvPr>
          <p:cNvGrpSpPr/>
          <p:nvPr/>
        </p:nvGrpSpPr>
        <p:grpSpPr>
          <a:xfrm>
            <a:off x="9383843" y="2308486"/>
            <a:ext cx="2533337" cy="2386093"/>
            <a:chOff x="9383843" y="2308486"/>
            <a:chExt cx="2533337" cy="238609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CED863E-CD08-EF92-25F4-2AC2CDFD575B}"/>
                </a:ext>
              </a:extLst>
            </p:cNvPr>
            <p:cNvSpPr txBox="1"/>
            <p:nvPr/>
          </p:nvSpPr>
          <p:spPr>
            <a:xfrm>
              <a:off x="9383843" y="2308486"/>
              <a:ext cx="2533337" cy="584775"/>
            </a:xfrm>
            <a:prstGeom prst="rect">
              <a:avLst/>
            </a:prstGeom>
            <a:solidFill>
              <a:srgbClr val="00B05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1">
                      <a:lumMod val="95000"/>
                    </a:schemeClr>
                  </a:solidFill>
                </a:rPr>
                <a:t>253M Loads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AB442577-C290-B967-3B73-B8AF59596B1A}"/>
                </a:ext>
              </a:extLst>
            </p:cNvPr>
            <p:cNvSpPr txBox="1"/>
            <p:nvPr/>
          </p:nvSpPr>
          <p:spPr>
            <a:xfrm>
              <a:off x="9383843" y="4109804"/>
              <a:ext cx="2533337" cy="584775"/>
            </a:xfrm>
            <a:prstGeom prst="rect">
              <a:avLst/>
            </a:prstGeom>
            <a:solidFill>
              <a:srgbClr val="C00000"/>
            </a:solidFill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3200" dirty="0">
                  <a:solidFill>
                    <a:schemeClr val="bg1">
                      <a:lumMod val="95000"/>
                    </a:schemeClr>
                  </a:solidFill>
                </a:rPr>
                <a:t>180M Loads</a:t>
              </a:r>
            </a:p>
          </p:txBody>
        </p:sp>
      </p:grpSp>
      <p:sp>
        <p:nvSpPr>
          <p:cNvPr id="2" name="Footer Placeholder 3">
            <a:extLst>
              <a:ext uri="{FF2B5EF4-FFF2-40B4-BE49-F238E27FC236}">
                <a16:creationId xmlns:a16="http://schemas.microsoft.com/office/drawing/2014/main" id="{3C604B2B-E5E3-8260-9A0E-A02CF0E96D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173787"/>
            <a:ext cx="7171955" cy="365125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ight•ca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™,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uck and Trailer Outlook Servi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00515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Truckstop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Dry van spot metrics</a:t>
            </a: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52BFEBF0-C66D-8771-5BAB-5672F264A5A8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22297593"/>
              </p:ext>
            </p:extLst>
          </p:nvPr>
        </p:nvGraphicFramePr>
        <p:xfrm>
          <a:off x="841248" y="1453896"/>
          <a:ext cx="5486400" cy="4575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C82B7F25-AC6D-D419-8E69-973A99F4AFC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13673609"/>
              </p:ext>
            </p:extLst>
          </p:nvPr>
        </p:nvGraphicFramePr>
        <p:xfrm>
          <a:off x="63276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9222553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freight: Dry Van</a:t>
            </a:r>
          </a:p>
        </p:txBody>
      </p:sp>
      <p:graphicFrame>
        <p:nvGraphicFramePr>
          <p:cNvPr id="3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066237794"/>
              </p:ext>
            </p:extLst>
          </p:nvPr>
        </p:nvGraphicFramePr>
        <p:xfrm>
          <a:off x="841248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947EB088-CEDB-614B-A2FF-D9E9242E04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38200" y="6173787"/>
            <a:ext cx="7171955" cy="365125"/>
          </a:xfrm>
        </p:spPr>
        <p:txBody>
          <a:bodyPr/>
          <a:lstStyle/>
          <a:p>
            <a:pPr marL="0" marR="0" lvl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TR </a:t>
            </a:r>
            <a:r>
              <a:rPr kumimoji="0" lang="en-US" sz="1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Freight•cast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, </a:t>
            </a:r>
            <a:r>
              <a:rPr kumimoji="0" lang="en-US" sz="1800" b="0" i="1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Truck and Trailer Outlook Servi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8FF70FF8-151F-0EE2-0794-E7091533D306}"/>
              </a:ext>
            </a:extLst>
          </p:cNvPr>
          <p:cNvSpPr txBox="1"/>
          <p:nvPr/>
        </p:nvSpPr>
        <p:spPr>
          <a:xfrm>
            <a:off x="9402917" y="4263724"/>
            <a:ext cx="1535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% of Loads:</a:t>
            </a:r>
          </a:p>
          <a:p>
            <a:pPr algn="ctr"/>
            <a:r>
              <a:rPr lang="en-US" sz="2000" b="1" dirty="0"/>
              <a:t>32.2%</a:t>
            </a:r>
          </a:p>
        </p:txBody>
      </p:sp>
    </p:spTree>
    <p:extLst>
      <p:ext uri="{BB962C8B-B14F-4D97-AF65-F5344CB8AC3E}">
        <p14:creationId xmlns:p14="http://schemas.microsoft.com/office/powerpoint/2010/main" val="37053907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Truckstop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Refrigerated spot metrics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AB90AF5D-31BE-6D60-2A8F-F8E6A652566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3713705"/>
              </p:ext>
            </p:extLst>
          </p:nvPr>
        </p:nvGraphicFramePr>
        <p:xfrm>
          <a:off x="8412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15DBD908-B760-70CF-E8A3-1C44F5DAD9E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7296644"/>
              </p:ext>
            </p:extLst>
          </p:nvPr>
        </p:nvGraphicFramePr>
        <p:xfrm>
          <a:off x="63276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3134542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freight: Refrigerated van</a:t>
            </a:r>
          </a:p>
        </p:txBody>
      </p:sp>
      <p:graphicFrame>
        <p:nvGraphicFramePr>
          <p:cNvPr id="3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025560587"/>
              </p:ext>
            </p:extLst>
          </p:nvPr>
        </p:nvGraphicFramePr>
        <p:xfrm>
          <a:off x="841248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9F494E6-FD12-E10F-03BA-3A28B714A15E}"/>
              </a:ext>
            </a:extLst>
          </p:cNvPr>
          <p:cNvSpPr txBox="1"/>
          <p:nvPr/>
        </p:nvSpPr>
        <p:spPr>
          <a:xfrm>
            <a:off x="9600880" y="4263724"/>
            <a:ext cx="1535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% of Loads:</a:t>
            </a:r>
          </a:p>
          <a:p>
            <a:pPr algn="ctr"/>
            <a:r>
              <a:rPr lang="en-US" sz="2000" b="1" dirty="0"/>
              <a:t>6.7%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B8775CC3-C457-8476-DF34-95ACF78A054A}"/>
              </a:ext>
            </a:extLst>
          </p:cNvPr>
          <p:cNvSpPr txBox="1">
            <a:spLocks/>
          </p:cNvSpPr>
          <p:nvPr/>
        </p:nvSpPr>
        <p:spPr>
          <a:xfrm>
            <a:off x="838200" y="6173787"/>
            <a:ext cx="7171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n-US" sz="1800" dirty="0">
                <a:solidFill>
                  <a:prstClr val="white"/>
                </a:solidFill>
                <a:latin typeface="Arial" panose="020B0604020202020204"/>
              </a:rPr>
              <a:t>Source: </a:t>
            </a:r>
            <a:r>
              <a:rPr lang="en-US" sz="1800" dirty="0">
                <a:solidFill>
                  <a:srgbClr val="FFFFFF"/>
                </a:solidFill>
                <a:latin typeface="Arial" panose="020B0604020202020204"/>
              </a:rPr>
              <a:t>FTR </a:t>
            </a:r>
            <a:r>
              <a:rPr lang="en-US" sz="1800" dirty="0" err="1">
                <a:solidFill>
                  <a:srgbClr val="FFFFFF"/>
                </a:solidFill>
                <a:latin typeface="Arial" panose="020B0604020202020204"/>
              </a:rPr>
              <a:t>Freight•cast</a:t>
            </a:r>
            <a:r>
              <a:rPr lang="en-US" sz="1800" dirty="0">
                <a:solidFill>
                  <a:srgbClr val="FFFFFF"/>
                </a:solidFill>
                <a:latin typeface="Arial" panose="020B0604020202020204"/>
              </a:rPr>
              <a:t>, </a:t>
            </a:r>
            <a:r>
              <a:rPr lang="en-US" sz="1800" i="1" dirty="0">
                <a:solidFill>
                  <a:srgbClr val="FFFFFF"/>
                </a:solidFill>
                <a:latin typeface="Arial" panose="020B0604020202020204"/>
              </a:rPr>
              <a:t>Truck and Trailer Outlook Service</a:t>
            </a:r>
            <a:endParaRPr lang="en-US" sz="1800" dirty="0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39295305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Truckstop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Flatbed spot metric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949C43B8-B93B-800E-3DB5-980361D3E5C6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604654181"/>
              </p:ext>
            </p:extLst>
          </p:nvPr>
        </p:nvGraphicFramePr>
        <p:xfrm>
          <a:off x="8412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930AFB3E-AC6F-D542-357E-C1ED528C4A1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96666671"/>
              </p:ext>
            </p:extLst>
          </p:nvPr>
        </p:nvGraphicFramePr>
        <p:xfrm>
          <a:off x="63276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574669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U.S. freight: Flatbed</a:t>
            </a:r>
          </a:p>
        </p:txBody>
      </p:sp>
      <p:graphicFrame>
        <p:nvGraphicFramePr>
          <p:cNvPr id="3" name="Content Placeholder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43846184"/>
              </p:ext>
            </p:extLst>
          </p:nvPr>
        </p:nvGraphicFramePr>
        <p:xfrm>
          <a:off x="841248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4B63231E-9420-F308-D72F-489A6826E031}"/>
              </a:ext>
            </a:extLst>
          </p:cNvPr>
          <p:cNvSpPr txBox="1"/>
          <p:nvPr/>
        </p:nvSpPr>
        <p:spPr>
          <a:xfrm>
            <a:off x="9384063" y="4285386"/>
            <a:ext cx="153599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2000" dirty="0"/>
              <a:t>% of Loads:</a:t>
            </a:r>
          </a:p>
          <a:p>
            <a:pPr algn="ctr"/>
            <a:r>
              <a:rPr lang="en-US" sz="2000" b="1" dirty="0"/>
              <a:t>12.0%</a:t>
            </a:r>
          </a:p>
        </p:txBody>
      </p:sp>
      <p:sp>
        <p:nvSpPr>
          <p:cNvPr id="6" name="Footer Placeholder 3">
            <a:extLst>
              <a:ext uri="{FF2B5EF4-FFF2-40B4-BE49-F238E27FC236}">
                <a16:creationId xmlns:a16="http://schemas.microsoft.com/office/drawing/2014/main" id="{3BA02CEC-B6B0-B7F8-A14D-2D6DBA8AF235}"/>
              </a:ext>
            </a:extLst>
          </p:cNvPr>
          <p:cNvSpPr txBox="1">
            <a:spLocks/>
          </p:cNvSpPr>
          <p:nvPr/>
        </p:nvSpPr>
        <p:spPr>
          <a:xfrm>
            <a:off x="838200" y="6173787"/>
            <a:ext cx="717195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914377">
              <a:defRPr/>
            </a:pPr>
            <a:r>
              <a:rPr lang="en-US" sz="1800" dirty="0">
                <a:solidFill>
                  <a:prstClr val="white"/>
                </a:solidFill>
                <a:latin typeface="Arial" panose="020B0604020202020204"/>
              </a:rPr>
              <a:t>Source: </a:t>
            </a:r>
            <a:r>
              <a:rPr lang="en-US" sz="1800" dirty="0">
                <a:solidFill>
                  <a:srgbClr val="FFFFFF"/>
                </a:solidFill>
                <a:latin typeface="Arial" panose="020B0604020202020204"/>
              </a:rPr>
              <a:t>FTR </a:t>
            </a:r>
            <a:r>
              <a:rPr lang="en-US" sz="1800" dirty="0" err="1">
                <a:solidFill>
                  <a:srgbClr val="FFFFFF"/>
                </a:solidFill>
                <a:latin typeface="Arial" panose="020B0604020202020204"/>
              </a:rPr>
              <a:t>Freight•cast</a:t>
            </a:r>
            <a:r>
              <a:rPr lang="en-US" sz="1800" dirty="0">
                <a:solidFill>
                  <a:srgbClr val="FFFFFF"/>
                </a:solidFill>
                <a:latin typeface="Arial" panose="020B0604020202020204"/>
              </a:rPr>
              <a:t>, </a:t>
            </a:r>
            <a:r>
              <a:rPr lang="en-US" sz="1800" i="1" dirty="0">
                <a:solidFill>
                  <a:srgbClr val="FFFFFF"/>
                </a:solidFill>
                <a:latin typeface="Arial" panose="020B0604020202020204"/>
              </a:rPr>
              <a:t>Truck and Trailer Outlook Service</a:t>
            </a:r>
            <a:endParaRPr lang="en-US" sz="1800" dirty="0">
              <a:solidFill>
                <a:prstClr val="white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1203296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3C0276B8-1C2B-4175-841E-96C780FAE13F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2390366"/>
              </p:ext>
            </p:extLst>
          </p:nvPr>
        </p:nvGraphicFramePr>
        <p:xfrm>
          <a:off x="841248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Association of American Railroad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Intermodal volume</a:t>
            </a:r>
          </a:p>
        </p:txBody>
      </p:sp>
      <p:sp>
        <p:nvSpPr>
          <p:cNvPr id="7" name="TextBox 1">
            <a:extLst>
              <a:ext uri="{FF2B5EF4-FFF2-40B4-BE49-F238E27FC236}">
                <a16:creationId xmlns:a16="http://schemas.microsoft.com/office/drawing/2014/main" id="{F2763DF9-D66B-7031-2AD4-D9E693576BF6}"/>
              </a:ext>
            </a:extLst>
          </p:cNvPr>
          <p:cNvSpPr txBox="1"/>
          <p:nvPr/>
        </p:nvSpPr>
        <p:spPr>
          <a:xfrm>
            <a:off x="7192005" y="4709311"/>
            <a:ext cx="2227588" cy="461665"/>
          </a:xfrm>
          <a:prstGeom prst="rect">
            <a:avLst/>
          </a:prstGeom>
          <a:solidFill>
            <a:schemeClr val="bg1"/>
          </a:solidFill>
          <a:ln>
            <a:solidFill>
              <a:srgbClr val="7F7F7F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Font typeface="Arial"/>
              <a:defRPr sz="1867" b="0" i="0" u="none" strike="noStrike" cap="none">
                <a:solidFill>
                  <a:srgbClr val="000000"/>
                </a:solidFill>
                <a:latin typeface="Arial"/>
                <a:ea typeface="Arial"/>
                <a:cs typeface="Arial"/>
                <a:sym typeface="Arial"/>
              </a:defRPr>
            </a:lvl9pPr>
          </a:lstStyle>
          <a:p>
            <a:r>
              <a:rPr lang="en-US" sz="1200" b="1" dirty="0">
                <a:solidFill>
                  <a:srgbClr val="000000"/>
                </a:solidFill>
              </a:rPr>
              <a:t>Week ended Septembe</a:t>
            </a:r>
            <a:r>
              <a:rPr lang="en-US" sz="1200" b="1" dirty="0"/>
              <a:t>r 30</a:t>
            </a:r>
            <a:r>
              <a:rPr lang="en-US" sz="1200" b="1" baseline="0" dirty="0">
                <a:solidFill>
                  <a:srgbClr val="000000"/>
                </a:solidFill>
              </a:rPr>
              <a:t>:</a:t>
            </a:r>
            <a:r>
              <a:rPr lang="en-US" sz="1200" b="1" dirty="0">
                <a:solidFill>
                  <a:srgbClr val="000000"/>
                </a:solidFill>
              </a:rPr>
              <a:t> </a:t>
            </a:r>
            <a:r>
              <a:rPr lang="en-US" sz="1200" baseline="0" dirty="0">
                <a:solidFill>
                  <a:srgbClr val="000000"/>
                </a:solidFill>
              </a:rPr>
              <a:t>Highest volume of 2023</a:t>
            </a:r>
            <a:endParaRPr lang="en-US" sz="1200" dirty="0">
              <a:solidFill>
                <a:srgbClr val="000000"/>
              </a:solidFill>
            </a:endParaRPr>
          </a:p>
        </p:txBody>
      </p:sp>
      <p:cxnSp>
        <p:nvCxnSpPr>
          <p:cNvPr id="5" name="Straight Arrow Connector 4">
            <a:extLst>
              <a:ext uri="{FF2B5EF4-FFF2-40B4-BE49-F238E27FC236}">
                <a16:creationId xmlns:a16="http://schemas.microsoft.com/office/drawing/2014/main" id="{D95ED383-6A7D-D3FA-E077-A416D47E39DA}"/>
              </a:ext>
            </a:extLst>
          </p:cNvPr>
          <p:cNvCxnSpPr>
            <a:cxnSpLocks/>
          </p:cNvCxnSpPr>
          <p:nvPr/>
        </p:nvCxnSpPr>
        <p:spPr>
          <a:xfrm flipH="1" flipV="1">
            <a:off x="8115300" y="3114675"/>
            <a:ext cx="942987" cy="1594636"/>
          </a:xfrm>
          <a:prstGeom prst="straightConnector1">
            <a:avLst/>
          </a:prstGeom>
          <a:ln w="12700">
            <a:solidFill>
              <a:schemeClr val="tx1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69569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>
            <a:extLst>
              <a:ext uri="{FF2B5EF4-FFF2-40B4-BE49-F238E27FC236}">
                <a16:creationId xmlns:a16="http://schemas.microsoft.com/office/drawing/2014/main" id="{193E09EB-175B-8169-6CCD-0B129DAB5C25}"/>
              </a:ext>
            </a:extLst>
          </p:cNvPr>
          <p:cNvSpPr txBox="1"/>
          <p:nvPr/>
        </p:nvSpPr>
        <p:spPr>
          <a:xfrm>
            <a:off x="1492394" y="6047232"/>
            <a:ext cx="660400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60955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  <a:t>Source: Port report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Analysis </a:t>
            </a:r>
            <a:r>
              <a:rPr lang="en-US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y</a:t>
            </a: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04DF5C01-D8AC-25D1-5C76-0552489210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929004"/>
          </a:xfrm>
        </p:spPr>
        <p:txBody>
          <a:bodyPr/>
          <a:lstStyle/>
          <a:p>
            <a:r>
              <a:rPr lang="en-US" dirty="0"/>
              <a:t>Distribution of U.S. container imports</a:t>
            </a:r>
          </a:p>
        </p:txBody>
      </p:sp>
      <p:graphicFrame>
        <p:nvGraphicFramePr>
          <p:cNvPr id="2" name="Chart 1">
            <a:extLst>
              <a:ext uri="{FF2B5EF4-FFF2-40B4-BE49-F238E27FC236}">
                <a16:creationId xmlns:a16="http://schemas.microsoft.com/office/drawing/2014/main" id="{00000000-0008-0000-B1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138010811"/>
              </p:ext>
            </p:extLst>
          </p:nvPr>
        </p:nvGraphicFramePr>
        <p:xfrm>
          <a:off x="840105" y="1453896"/>
          <a:ext cx="10511790" cy="457581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373891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73904D1-8AED-6F5C-255F-B31C09D018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2064774"/>
            <a:ext cx="2994793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Survey says…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2F7FA4D-D1F8-62B7-1EB4-AE59293405F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989005"/>
            <a:ext cx="2994793" cy="2894959"/>
          </a:xfrm>
        </p:spPr>
        <p:txBody>
          <a:bodyPr>
            <a:normAutofit/>
          </a:bodyPr>
          <a:lstStyle/>
          <a:p>
            <a:pPr marL="514350" indent="-514350">
              <a:buAutoNum type="alphaUcPeriod"/>
            </a:pPr>
            <a:r>
              <a:rPr lang="en-US" sz="3200" b="1" dirty="0"/>
              <a:t>True</a:t>
            </a:r>
          </a:p>
          <a:p>
            <a:pPr marL="514350" indent="-514350">
              <a:buAutoNum type="alphaUcPeriod"/>
            </a:pPr>
            <a:r>
              <a:rPr lang="en-US" sz="3200" b="1" dirty="0"/>
              <a:t>Fals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971A37B2-C1D2-F928-E974-03BC81B83A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2064774"/>
            <a:ext cx="5183188" cy="924231"/>
          </a:xfrm>
        </p:spPr>
        <p:txBody>
          <a:bodyPr>
            <a:normAutofit/>
          </a:bodyPr>
          <a:lstStyle/>
          <a:p>
            <a:r>
              <a:rPr lang="en-US" sz="3200" u="sng" dirty="0"/>
              <a:t>Reality is…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4BEA2F56-17DA-5D58-6BE1-9188C20954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93387" y="136525"/>
            <a:ext cx="8784077" cy="1928249"/>
          </a:xfrm>
        </p:spPr>
        <p:txBody>
          <a:bodyPr>
            <a:normAutofit/>
          </a:bodyPr>
          <a:lstStyle/>
          <a:p>
            <a:r>
              <a:rPr lang="en-US" b="1" dirty="0"/>
              <a:t>Following the covid shutdown the average price for a new trailer increased by 50%: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9E5FD126-33F1-80E3-BBAA-EE696F91E6A3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989005"/>
            <a:ext cx="5183188" cy="2894270"/>
          </a:xfrm>
        </p:spPr>
        <p:txBody>
          <a:bodyPr>
            <a:normAutofit/>
          </a:bodyPr>
          <a:lstStyle/>
          <a:p>
            <a:pPr marL="511175" indent="0">
              <a:buNone/>
            </a:pPr>
            <a:r>
              <a:rPr lang="en-US" sz="3200" b="1" dirty="0"/>
              <a:t>True</a:t>
            </a:r>
          </a:p>
        </p:txBody>
      </p:sp>
      <p:pic>
        <p:nvPicPr>
          <p:cNvPr id="12" name="Content Placeholder 7">
            <a:extLst>
              <a:ext uri="{FF2B5EF4-FFF2-40B4-BE49-F238E27FC236}">
                <a16:creationId xmlns:a16="http://schemas.microsoft.com/office/drawing/2014/main" id="{4F001A8F-EC3F-AE5D-A417-132A27AEDF94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677275" y="-711"/>
            <a:ext cx="3514725" cy="35147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6508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1" dur="500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2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5000"/>
                                        <p:tgtEl>
                                          <p:spTgt spid="3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500"/>
                                        <p:tgtEl>
                                          <p:spTgt spid="6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500"/>
                            </p:stCondLst>
                            <p:childTnLst>
                              <p:par>
                                <p:cTn id="2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500"/>
                                        <p:tgtEl>
                                          <p:spTgt spid="11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build="p"/>
      <p:bldP spid="3" grpId="0" uiExpand="1" build="p"/>
      <p:bldP spid="6" grpId="0" build="p"/>
      <p:bldP spid="11" grpId="0" uiExpand="1" build="p"/>
    </p:bldLst>
  </p:timing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ederal Motor Carrier Safety Administr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CDL driver hiring activity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8200-00000A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681274695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1813150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ederal Motor Carrier Safety Administr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New for-hire trucking companie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8600-000003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35515847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0110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ederal Motor Carrier Safety Administr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Net revocations of trucking authority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8D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58515304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22503617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ederal Motor Carrier Safety Administr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Net change in for-hire carrier population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8F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378014327"/>
              </p:ext>
            </p:extLst>
          </p:nvPr>
        </p:nvGraphicFramePr>
        <p:xfrm>
          <a:off x="841248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1092448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ederal Motor Carrier Safety Administr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Number of for-hire carriers losing authority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54FAB74-94B2-A6F4-BD16-C76948146AB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19132813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9784792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For-hire trucking job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9FCC0D73-60A1-4EEF-B74B-994CAC761E0F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Labor Statistics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8000-000005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2575313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0211879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TR Trucking Updat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Active truck utilization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EE913019-F02F-3FD8-F516-9DCADA15C49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800486733"/>
              </p:ext>
            </p:extLst>
          </p:nvPr>
        </p:nvGraphicFramePr>
        <p:xfrm>
          <a:off x="841248" y="1450848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0705164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TR Trucking Updat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Total truckload spot rate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2029C55-2262-5644-4AFC-051EF5831224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47654576"/>
              </p:ext>
            </p:extLst>
          </p:nvPr>
        </p:nvGraphicFramePr>
        <p:xfrm>
          <a:off x="841248" y="1450848"/>
          <a:ext cx="10521696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3727171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FTR Trucking Updat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Total truckload contract rates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50155BCC-49F2-830F-92A6-BCF481E8F2B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7665322"/>
              </p:ext>
            </p:extLst>
          </p:nvPr>
        </p:nvGraphicFramePr>
        <p:xfrm>
          <a:off x="841248" y="1450848"/>
          <a:ext cx="10521696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094743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430958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C8C7E19-E05D-2B47-1398-2F65ABD5C9E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PPI - Trailer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D185FFFF-8086-D231-F3F4-9BA9587DB71E}"/>
              </a:ext>
            </a:extLst>
          </p:cNvPr>
          <p:cNvSpPr txBox="1"/>
          <p:nvPr/>
        </p:nvSpPr>
        <p:spPr>
          <a:xfrm>
            <a:off x="1524000" y="6044184"/>
            <a:ext cx="9303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Source: Bureau of Labor Statistics</a:t>
            </a:r>
          </a:p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Analysis by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0000000-0008-0000-9900-000008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56790555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886287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>
            <a:extLst>
              <a:ext uri="{FF2B5EF4-FFF2-40B4-BE49-F238E27FC236}">
                <a16:creationId xmlns:a16="http://schemas.microsoft.com/office/drawing/2014/main" id="{0DC93BCC-F0A4-4F92-81D6-744D104A47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7"/>
            <a:ext cx="10515600" cy="929004"/>
          </a:xfrm>
        </p:spPr>
        <p:txBody>
          <a:bodyPr/>
          <a:lstStyle/>
          <a:p>
            <a:r>
              <a:rPr lang="en-US" dirty="0"/>
              <a:t>CPI – Goods versus services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A3312E3-11A9-5543-9363-AB3170108050}"/>
              </a:ext>
            </a:extLst>
          </p:cNvPr>
          <p:cNvSpPr txBox="1"/>
          <p:nvPr/>
        </p:nvSpPr>
        <p:spPr>
          <a:xfrm>
            <a:off x="1524000" y="6044184"/>
            <a:ext cx="930395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Source: Bureau of Labor Statistics</a:t>
            </a:r>
          </a:p>
          <a:p>
            <a:pPr defTabSz="609555">
              <a:defRPr/>
            </a:pPr>
            <a:r>
              <a:rPr lang="en-US" dirty="0">
                <a:solidFill>
                  <a:srgbClr val="FFFFFF"/>
                </a:solidFill>
              </a:rPr>
              <a:t>Analysis by </a:t>
            </a:r>
            <a:r>
              <a:rPr lang="en-US" dirty="0">
                <a:solidFill>
                  <a:schemeClr val="bg1"/>
                </a:solidFill>
                <a:cs typeface="Arial" panose="020B0604020202020204" pitchFamily="34" charset="0"/>
              </a:rPr>
              <a:t>FTR Transportation Intelligence</a:t>
            </a: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DBB357B-FC0D-6CEC-5D40-ECE8B100AF81}"/>
              </a:ext>
            </a:extLst>
          </p:cNvPr>
          <p:cNvSpPr txBox="1"/>
          <p:nvPr/>
        </p:nvSpPr>
        <p:spPr>
          <a:xfrm>
            <a:off x="11070076" y="3193130"/>
            <a:ext cx="972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Services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80F2BFF-FA60-44A8-7C9C-A7DB46377761}"/>
              </a:ext>
            </a:extLst>
          </p:cNvPr>
          <p:cNvSpPr txBox="1"/>
          <p:nvPr/>
        </p:nvSpPr>
        <p:spPr>
          <a:xfrm>
            <a:off x="11070076" y="4264028"/>
            <a:ext cx="97276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>
                <a:solidFill>
                  <a:srgbClr val="404040"/>
                </a:solidFill>
              </a:rPr>
              <a:t>Goods</a:t>
            </a: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00000000-0008-0000-2C00-000004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58009141"/>
              </p:ext>
            </p:extLst>
          </p:nvPr>
        </p:nvGraphicFramePr>
        <p:xfrm>
          <a:off x="838200" y="1453896"/>
          <a:ext cx="105156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200868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Bureau of Labor Statistics, Federal Reserve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Prices and financing costs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A686E0EC-8C35-4B08-9895-F67F55CB8A9D}"/>
              </a:ext>
            </a:extLst>
          </p:cNvPr>
          <p:cNvGraphicFramePr>
            <a:graphicFrameLocks/>
          </p:cNvGraphicFramePr>
          <p:nvPr/>
        </p:nvGraphicFramePr>
        <p:xfrm>
          <a:off x="8412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09552AF0-46E9-422A-AB14-89A2A42A0385}"/>
              </a:ext>
            </a:extLst>
          </p:cNvPr>
          <p:cNvGraphicFramePr>
            <a:graphicFrameLocks/>
          </p:cNvGraphicFramePr>
          <p:nvPr/>
        </p:nvGraphicFramePr>
        <p:xfrm>
          <a:off x="6327648" y="1453896"/>
          <a:ext cx="548640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428474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2C494537-F244-E92E-3732-58FD9FE95DC8}"/>
              </a:ext>
            </a:extLst>
          </p:cNvPr>
          <p:cNvSpPr txBox="1"/>
          <p:nvPr/>
        </p:nvSpPr>
        <p:spPr>
          <a:xfrm>
            <a:off x="1533832" y="6047232"/>
            <a:ext cx="853574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09555">
              <a:defRPr/>
            </a:pP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Source: Energy Information Administration</a:t>
            </a:r>
            <a:b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</a:br>
            <a:r>
              <a:rPr kumimoji="0" 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ea typeface="+mn-ea"/>
                <a:cs typeface="Arial" panose="020B0604020202020204" pitchFamily="34" charset="0"/>
              </a:rPr>
              <a:t>Analysis by FTR Transportation Intelligence</a:t>
            </a: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4" name="Title 4">
            <a:extLst>
              <a:ext uri="{FF2B5EF4-FFF2-40B4-BE49-F238E27FC236}">
                <a16:creationId xmlns:a16="http://schemas.microsoft.com/office/drawing/2014/main" id="{29F0026D-3BF7-90B7-A49A-F840D3208CF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929004"/>
          </a:xfrm>
        </p:spPr>
        <p:txBody>
          <a:bodyPr>
            <a:normAutofit/>
          </a:bodyPr>
          <a:lstStyle/>
          <a:p>
            <a:r>
              <a:rPr lang="en-US" dirty="0"/>
              <a:t>U.S. diesel price per gallon</a:t>
            </a:r>
          </a:p>
        </p:txBody>
      </p:sp>
      <p:graphicFrame>
        <p:nvGraphicFramePr>
          <p:cNvPr id="3" name="Chart 2">
            <a:extLst>
              <a:ext uri="{FF2B5EF4-FFF2-40B4-BE49-F238E27FC236}">
                <a16:creationId xmlns:a16="http://schemas.microsoft.com/office/drawing/2014/main" id="{00000000-0008-0000-5C00-000009000000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409318533"/>
              </p:ext>
            </p:extLst>
          </p:nvPr>
        </p:nvGraphicFramePr>
        <p:xfrm>
          <a:off x="836295" y="1453896"/>
          <a:ext cx="10519410" cy="45720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1828501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TR_Conf23_titl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FTR_Conf23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1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8.xml><?xml version="1.0" encoding="utf-8"?>
<a:themeOverride xmlns:a="http://schemas.openxmlformats.org/drawingml/2006/main">
  <a:clrScheme name="Office 2007 - 2010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 2007 - 2010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 2007 - 2010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0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5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6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7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8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9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Office">
    <a:majorFont>
      <a:latin typeface="Cambria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tint val="100000"/>
              <a:shade val="100000"/>
              <a:satMod val="130000"/>
            </a:schemeClr>
          </a:gs>
          <a:gs pos="100000">
            <a:schemeClr val="phClr">
              <a:tint val="50000"/>
              <a:shade val="100000"/>
              <a:satMod val="350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2391</TotalTime>
  <Words>1799</Words>
  <Application>Microsoft Macintosh PowerPoint</Application>
  <PresentationFormat>Widescreen</PresentationFormat>
  <Paragraphs>462</Paragraphs>
  <Slides>59</Slides>
  <Notes>41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2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9</vt:i4>
      </vt:variant>
    </vt:vector>
  </HeadingPairs>
  <TitlesOfParts>
    <vt:vector size="67" baseType="lpstr">
      <vt:lpstr>Arial</vt:lpstr>
      <vt:lpstr>Calibri</vt:lpstr>
      <vt:lpstr>Calibri Light</vt:lpstr>
      <vt:lpstr>Optima</vt:lpstr>
      <vt:lpstr>Roboto</vt:lpstr>
      <vt:lpstr>FTR_Conf23_title</vt:lpstr>
      <vt:lpstr>FTR_Conf23</vt:lpstr>
      <vt:lpstr>think-cell Slide</vt:lpstr>
      <vt:lpstr>Economic Update  Keller Logistics Customer Summit 2023 October 11, 2023</vt:lpstr>
      <vt:lpstr>Presentation Overview</vt:lpstr>
      <vt:lpstr>Download an updated copy of this presentation at:  www.ftrintel.com/keller</vt:lpstr>
      <vt:lpstr>Issues to keep an eye on…</vt:lpstr>
      <vt:lpstr>Following the covid shutdown the average price for a new trailer increased by 50%:</vt:lpstr>
      <vt:lpstr>PPI - Trailers</vt:lpstr>
      <vt:lpstr>CPI – Goods versus services</vt:lpstr>
      <vt:lpstr>Prices and financing costs</vt:lpstr>
      <vt:lpstr>U.S. diesel price per gallon</vt:lpstr>
      <vt:lpstr>Issues to keep an eye on…</vt:lpstr>
      <vt:lpstr>Real average hourly earnings have increased by 2.6% since spring 2020:</vt:lpstr>
      <vt:lpstr>Real average hourly earnings</vt:lpstr>
      <vt:lpstr>Job openings</vt:lpstr>
      <vt:lpstr>Total payroll job changes</vt:lpstr>
      <vt:lpstr>Warehouse &amp; storage employment </vt:lpstr>
      <vt:lpstr>Issues to keep an eye on…</vt:lpstr>
      <vt:lpstr>Non-store retail sales are up 35% since January 2020:</vt:lpstr>
      <vt:lpstr>Retail stores vs. nonstore retail sales</vt:lpstr>
      <vt:lpstr>Real consumer spending</vt:lpstr>
      <vt:lpstr>Issues to keep an eye on…</vt:lpstr>
      <vt:lpstr>Auto sales are down more than 14% over the last 12 months:</vt:lpstr>
      <vt:lpstr>Support for automotive production</vt:lpstr>
      <vt:lpstr>Motor vehicle and parts production</vt:lpstr>
      <vt:lpstr>Issues to keep an eye on…</vt:lpstr>
      <vt:lpstr>Real inventories of $735.9B in Q2 is a record high:</vt:lpstr>
      <vt:lpstr>Real retail inventories</vt:lpstr>
      <vt:lpstr>Inventories-to-sales ratios</vt:lpstr>
      <vt:lpstr>Issues to keep an eye on…</vt:lpstr>
      <vt:lpstr>Existing home sales are down 40% since peaking in October 2020:</vt:lpstr>
      <vt:lpstr>Sales of existing homes</vt:lpstr>
      <vt:lpstr>Inventory of homes on the market</vt:lpstr>
      <vt:lpstr>Housing starts</vt:lpstr>
      <vt:lpstr>Issues to keep an eye on…</vt:lpstr>
      <vt:lpstr>Since October 2018 Chinese goods imports are down 30% and Can/Mex goods imports are up 30%:</vt:lpstr>
      <vt:lpstr>Goods imports from key trading partners</vt:lpstr>
      <vt:lpstr>New orders for core capital goods</vt:lpstr>
      <vt:lpstr>Manufacturing output</vt:lpstr>
      <vt:lpstr>Real Gross Domestic Product</vt:lpstr>
      <vt:lpstr>U.S. Freight Outlook  by Equipment Type</vt:lpstr>
      <vt:lpstr>PowerPoint Presentation</vt:lpstr>
      <vt:lpstr>PowerPoint Presentation</vt:lpstr>
      <vt:lpstr>Dry van spot metrics</vt:lpstr>
      <vt:lpstr>U.S. freight: Dry Van</vt:lpstr>
      <vt:lpstr>Refrigerated spot metrics</vt:lpstr>
      <vt:lpstr>U.S. freight: Refrigerated van</vt:lpstr>
      <vt:lpstr>Flatbed spot metrics</vt:lpstr>
      <vt:lpstr>U.S. freight: Flatbed</vt:lpstr>
      <vt:lpstr>Intermodal volume</vt:lpstr>
      <vt:lpstr>Distribution of U.S. container imports</vt:lpstr>
      <vt:lpstr>CDL driver hiring activity</vt:lpstr>
      <vt:lpstr>New for-hire trucking companies</vt:lpstr>
      <vt:lpstr>Net revocations of trucking authority</vt:lpstr>
      <vt:lpstr>Net change in for-hire carrier population</vt:lpstr>
      <vt:lpstr>Number of for-hire carriers losing authority</vt:lpstr>
      <vt:lpstr>For-hire trucking jobs</vt:lpstr>
      <vt:lpstr>Active truck utilization</vt:lpstr>
      <vt:lpstr>Total truckload spot rates</vt:lpstr>
      <vt:lpstr>Total truckload contract rates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iulia Garcia</dc:creator>
  <cp:lastModifiedBy>Eric Starks</cp:lastModifiedBy>
  <cp:revision>71</cp:revision>
  <dcterms:created xsi:type="dcterms:W3CDTF">2022-06-30T01:09:27Z</dcterms:created>
  <dcterms:modified xsi:type="dcterms:W3CDTF">2023-10-09T11:58:36Z</dcterms:modified>
</cp:coreProperties>
</file>